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3" r:id="rId5"/>
    <p:sldMasterId id="2147483691" r:id="rId6"/>
    <p:sldMasterId id="2147483699" r:id="rId7"/>
    <p:sldMasterId id="2147483706" r:id="rId8"/>
    <p:sldMasterId id="2147483751" r:id="rId9"/>
    <p:sldMasterId id="2147483772" r:id="rId10"/>
  </p:sldMasterIdLst>
  <p:notesMasterIdLst>
    <p:notesMasterId r:id="rId56"/>
  </p:notesMasterIdLst>
  <p:sldIdLst>
    <p:sldId id="3255" r:id="rId11"/>
    <p:sldId id="2145706926" r:id="rId12"/>
    <p:sldId id="3260" r:id="rId13"/>
    <p:sldId id="2145706924" r:id="rId14"/>
    <p:sldId id="2147481314" r:id="rId15"/>
    <p:sldId id="417" r:id="rId16"/>
    <p:sldId id="2147483118" r:id="rId17"/>
    <p:sldId id="2147483155" r:id="rId18"/>
    <p:sldId id="2147481347" r:id="rId19"/>
    <p:sldId id="2147483115" r:id="rId20"/>
    <p:sldId id="2147483154" r:id="rId21"/>
    <p:sldId id="310" r:id="rId22"/>
    <p:sldId id="2147483147" r:id="rId23"/>
    <p:sldId id="2147481355" r:id="rId24"/>
    <p:sldId id="2147483151" r:id="rId25"/>
    <p:sldId id="2147483152" r:id="rId26"/>
    <p:sldId id="2141411399" r:id="rId27"/>
    <p:sldId id="2141411401" r:id="rId28"/>
    <p:sldId id="2141411402" r:id="rId29"/>
    <p:sldId id="2147483149" r:id="rId30"/>
    <p:sldId id="2147483150" r:id="rId31"/>
    <p:sldId id="335" r:id="rId32"/>
    <p:sldId id="2147483153" r:id="rId33"/>
    <p:sldId id="2147481356" r:id="rId34"/>
    <p:sldId id="2147483121" r:id="rId35"/>
    <p:sldId id="2145706940" r:id="rId36"/>
    <p:sldId id="2147479715" r:id="rId37"/>
    <p:sldId id="2147479701" r:id="rId38"/>
    <p:sldId id="2147479685" r:id="rId39"/>
    <p:sldId id="2147376917" r:id="rId40"/>
    <p:sldId id="2147376910" r:id="rId41"/>
    <p:sldId id="2147479697" r:id="rId42"/>
    <p:sldId id="2147479628" r:id="rId43"/>
    <p:sldId id="2147479714" r:id="rId44"/>
    <p:sldId id="2147479711" r:id="rId45"/>
    <p:sldId id="2147479708" r:id="rId46"/>
    <p:sldId id="2147479709" r:id="rId47"/>
    <p:sldId id="2145707065" r:id="rId48"/>
    <p:sldId id="2145707066" r:id="rId49"/>
    <p:sldId id="2147479710" r:id="rId50"/>
    <p:sldId id="2147376914" r:id="rId51"/>
    <p:sldId id="2147376904" r:id="rId52"/>
    <p:sldId id="5067" r:id="rId53"/>
    <p:sldId id="5057" r:id="rId54"/>
    <p:sldId id="5068"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zabeth Radin"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91AE24-24E2-40BF-870C-79272FED7B57}" v="1" dt="2024-08-27T12:13:12.593"/>
    <p1510:client id="{E2712895-92AE-4518-B5B3-F8F0AF222844}" v="75" dt="2024-08-26T16:29:39.5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commentAuthors" Target="commentAuthors.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dery, Sara E." userId="16b337ac-3e46-4492-bfe1-1439cfc44d58" providerId="ADAL" clId="{E2712895-92AE-4518-B5B3-F8F0AF222844}"/>
    <pc:docChg chg="undo custSel delSld modSld delMainMaster">
      <pc:chgData name="Hendery, Sara E." userId="16b337ac-3e46-4492-bfe1-1439cfc44d58" providerId="ADAL" clId="{E2712895-92AE-4518-B5B3-F8F0AF222844}" dt="2024-08-26T16:24:18.828" v="831" actId="47"/>
      <pc:docMkLst>
        <pc:docMk/>
      </pc:docMkLst>
      <pc:sldChg chg="del">
        <pc:chgData name="Hendery, Sara E." userId="16b337ac-3e46-4492-bfe1-1439cfc44d58" providerId="ADAL" clId="{E2712895-92AE-4518-B5B3-F8F0AF222844}" dt="2024-08-26T16:24:18.828" v="831" actId="47"/>
        <pc:sldMkLst>
          <pc:docMk/>
          <pc:sldMk cId="749959322" sldId="332"/>
        </pc:sldMkLst>
      </pc:sldChg>
      <pc:sldChg chg="del">
        <pc:chgData name="Hendery, Sara E." userId="16b337ac-3e46-4492-bfe1-1439cfc44d58" providerId="ADAL" clId="{E2712895-92AE-4518-B5B3-F8F0AF222844}" dt="2024-08-26T16:24:18.828" v="831" actId="47"/>
        <pc:sldMkLst>
          <pc:docMk/>
          <pc:sldMk cId="959799576" sldId="334"/>
        </pc:sldMkLst>
      </pc:sldChg>
      <pc:sldChg chg="del">
        <pc:chgData name="Hendery, Sara E." userId="16b337ac-3e46-4492-bfe1-1439cfc44d58" providerId="ADAL" clId="{E2712895-92AE-4518-B5B3-F8F0AF222844}" dt="2024-08-26T16:24:18.828" v="831" actId="47"/>
        <pc:sldMkLst>
          <pc:docMk/>
          <pc:sldMk cId="531758098" sldId="335"/>
        </pc:sldMkLst>
      </pc:sldChg>
      <pc:sldChg chg="del">
        <pc:chgData name="Hendery, Sara E." userId="16b337ac-3e46-4492-bfe1-1439cfc44d58" providerId="ADAL" clId="{E2712895-92AE-4518-B5B3-F8F0AF222844}" dt="2024-08-26T16:24:18.828" v="831" actId="47"/>
        <pc:sldMkLst>
          <pc:docMk/>
          <pc:sldMk cId="1368863175" sldId="482"/>
        </pc:sldMkLst>
      </pc:sldChg>
      <pc:sldChg chg="del">
        <pc:chgData name="Hendery, Sara E." userId="16b337ac-3e46-4492-bfe1-1439cfc44d58" providerId="ADAL" clId="{E2712895-92AE-4518-B5B3-F8F0AF222844}" dt="2024-08-26T16:24:18.828" v="831" actId="47"/>
        <pc:sldMkLst>
          <pc:docMk/>
          <pc:sldMk cId="3425315398" sldId="892"/>
        </pc:sldMkLst>
      </pc:sldChg>
      <pc:sldChg chg="del">
        <pc:chgData name="Hendery, Sara E." userId="16b337ac-3e46-4492-bfe1-1439cfc44d58" providerId="ADAL" clId="{E2712895-92AE-4518-B5B3-F8F0AF222844}" dt="2024-08-26T16:24:18.828" v="831" actId="47"/>
        <pc:sldMkLst>
          <pc:docMk/>
          <pc:sldMk cId="731836630" sldId="897"/>
        </pc:sldMkLst>
      </pc:sldChg>
      <pc:sldChg chg="modSp mod">
        <pc:chgData name="Hendery, Sara E." userId="16b337ac-3e46-4492-bfe1-1439cfc44d58" providerId="ADAL" clId="{E2712895-92AE-4518-B5B3-F8F0AF222844}" dt="2024-08-26T16:04:56.850" v="275" actId="6549"/>
        <pc:sldMkLst>
          <pc:docMk/>
          <pc:sldMk cId="3491193050" sldId="3255"/>
        </pc:sldMkLst>
        <pc:spChg chg="mod">
          <ac:chgData name="Hendery, Sara E." userId="16b337ac-3e46-4492-bfe1-1439cfc44d58" providerId="ADAL" clId="{E2712895-92AE-4518-B5B3-F8F0AF222844}" dt="2024-08-26T16:04:56.850" v="275" actId="6549"/>
          <ac:spMkLst>
            <pc:docMk/>
            <pc:sldMk cId="3491193050" sldId="3255"/>
            <ac:spMk id="7" creationId="{9E364E1A-06BE-44A8-BA33-4F626F1D6775}"/>
          </ac:spMkLst>
        </pc:spChg>
        <pc:spChg chg="mod">
          <ac:chgData name="Hendery, Sara E." userId="16b337ac-3e46-4492-bfe1-1439cfc44d58" providerId="ADAL" clId="{E2712895-92AE-4518-B5B3-F8F0AF222844}" dt="2024-08-26T16:04:40.685" v="257" actId="20577"/>
          <ac:spMkLst>
            <pc:docMk/>
            <pc:sldMk cId="3491193050" sldId="3255"/>
            <ac:spMk id="223" creationId="{80D8679A-2C93-4711-A590-CAD021EDF5FD}"/>
          </ac:spMkLst>
        </pc:spChg>
        <pc:picChg chg="mod">
          <ac:chgData name="Hendery, Sara E." userId="16b337ac-3e46-4492-bfe1-1439cfc44d58" providerId="ADAL" clId="{E2712895-92AE-4518-B5B3-F8F0AF222844}" dt="2024-08-26T16:01:18.203" v="0" actId="14826"/>
          <ac:picMkLst>
            <pc:docMk/>
            <pc:sldMk cId="3491193050" sldId="3255"/>
            <ac:picMk id="5" creationId="{371F4989-6A39-455E-9C10-50A2987551CD}"/>
          </ac:picMkLst>
        </pc:picChg>
      </pc:sldChg>
      <pc:sldChg chg="addSp delSp modSp mod setBg">
        <pc:chgData name="Hendery, Sara E." userId="16b337ac-3e46-4492-bfe1-1439cfc44d58" providerId="ADAL" clId="{E2712895-92AE-4518-B5B3-F8F0AF222844}" dt="2024-08-26T16:24:07.509" v="830" actId="1038"/>
        <pc:sldMkLst>
          <pc:docMk/>
          <pc:sldMk cId="751147512" sldId="2145706924"/>
        </pc:sldMkLst>
        <pc:spChg chg="del mod">
          <ac:chgData name="Hendery, Sara E." userId="16b337ac-3e46-4492-bfe1-1439cfc44d58" providerId="ADAL" clId="{E2712895-92AE-4518-B5B3-F8F0AF222844}" dt="2024-08-26T16:08:00.860" v="285" actId="478"/>
          <ac:spMkLst>
            <pc:docMk/>
            <pc:sldMk cId="751147512" sldId="2145706924"/>
            <ac:spMk id="4" creationId="{1CBBD632-09A6-DA96-8878-4A65B531A205}"/>
          </ac:spMkLst>
        </pc:spChg>
        <pc:spChg chg="mod">
          <ac:chgData name="Hendery, Sara E." userId="16b337ac-3e46-4492-bfe1-1439cfc44d58" providerId="ADAL" clId="{E2712895-92AE-4518-B5B3-F8F0AF222844}" dt="2024-08-26T16:24:07.509" v="830" actId="1038"/>
          <ac:spMkLst>
            <pc:docMk/>
            <pc:sldMk cId="751147512" sldId="2145706924"/>
            <ac:spMk id="5" creationId="{01CA066D-3B5C-A26F-C96F-90CEB3BF7275}"/>
          </ac:spMkLst>
        </pc:spChg>
        <pc:spChg chg="mod">
          <ac:chgData name="Hendery, Sara E." userId="16b337ac-3e46-4492-bfe1-1439cfc44d58" providerId="ADAL" clId="{E2712895-92AE-4518-B5B3-F8F0AF222844}" dt="2024-08-26T16:24:07.509" v="830" actId="1038"/>
          <ac:spMkLst>
            <pc:docMk/>
            <pc:sldMk cId="751147512" sldId="2145706924"/>
            <ac:spMk id="10" creationId="{38FA7265-4C00-7624-6B55-7AC2E86B7BDE}"/>
          </ac:spMkLst>
        </pc:spChg>
        <pc:picChg chg="del mod modCrop">
          <ac:chgData name="Hendery, Sara E." userId="16b337ac-3e46-4492-bfe1-1439cfc44d58" providerId="ADAL" clId="{E2712895-92AE-4518-B5B3-F8F0AF222844}" dt="2024-08-26T16:07:54.100" v="283" actId="478"/>
          <ac:picMkLst>
            <pc:docMk/>
            <pc:sldMk cId="751147512" sldId="2145706924"/>
            <ac:picMk id="2" creationId="{77570778-E07C-D6DA-FF77-CABED110ED41}"/>
          </ac:picMkLst>
        </pc:picChg>
        <pc:picChg chg="del mod modCrop">
          <ac:chgData name="Hendery, Sara E." userId="16b337ac-3e46-4492-bfe1-1439cfc44d58" providerId="ADAL" clId="{E2712895-92AE-4518-B5B3-F8F0AF222844}" dt="2024-08-26T16:12:43.820" v="324" actId="478"/>
          <ac:picMkLst>
            <pc:docMk/>
            <pc:sldMk cId="751147512" sldId="2145706924"/>
            <ac:picMk id="3" creationId="{3FA06356-7ADA-3489-D430-AA874AC791F4}"/>
          </ac:picMkLst>
        </pc:picChg>
        <pc:picChg chg="add mod modCrop">
          <ac:chgData name="Hendery, Sara E." userId="16b337ac-3e46-4492-bfe1-1439cfc44d58" providerId="ADAL" clId="{E2712895-92AE-4518-B5B3-F8F0AF222844}" dt="2024-08-26T16:24:07.509" v="830" actId="1038"/>
          <ac:picMkLst>
            <pc:docMk/>
            <pc:sldMk cId="751147512" sldId="2145706924"/>
            <ac:picMk id="6" creationId="{11E57CA9-604F-A8F7-12D6-50CF8CBF015A}"/>
          </ac:picMkLst>
        </pc:picChg>
        <pc:picChg chg="mod">
          <ac:chgData name="Hendery, Sara E." userId="16b337ac-3e46-4492-bfe1-1439cfc44d58" providerId="ADAL" clId="{E2712895-92AE-4518-B5B3-F8F0AF222844}" dt="2024-08-26T16:24:07.509" v="830" actId="1038"/>
          <ac:picMkLst>
            <pc:docMk/>
            <pc:sldMk cId="751147512" sldId="2145706924"/>
            <ac:picMk id="11" creationId="{FAC4DBFC-4C73-A778-942C-186140D3A964}"/>
          </ac:picMkLst>
        </pc:picChg>
      </pc:sldChg>
      <pc:sldChg chg="del">
        <pc:chgData name="Hendery, Sara E." userId="16b337ac-3e46-4492-bfe1-1439cfc44d58" providerId="ADAL" clId="{E2712895-92AE-4518-B5B3-F8F0AF222844}" dt="2024-08-26T16:24:18.828" v="831" actId="47"/>
        <pc:sldMkLst>
          <pc:docMk/>
          <pc:sldMk cId="1199792270" sldId="2147471870"/>
        </pc:sldMkLst>
      </pc:sldChg>
      <pc:sldChg chg="del">
        <pc:chgData name="Hendery, Sara E." userId="16b337ac-3e46-4492-bfe1-1439cfc44d58" providerId="ADAL" clId="{E2712895-92AE-4518-B5B3-F8F0AF222844}" dt="2024-08-26T16:24:18.828" v="831" actId="47"/>
        <pc:sldMkLst>
          <pc:docMk/>
          <pc:sldMk cId="929462870" sldId="2147471871"/>
        </pc:sldMkLst>
      </pc:sldChg>
      <pc:sldChg chg="del">
        <pc:chgData name="Hendery, Sara E." userId="16b337ac-3e46-4492-bfe1-1439cfc44d58" providerId="ADAL" clId="{E2712895-92AE-4518-B5B3-F8F0AF222844}" dt="2024-08-26T16:24:18.828" v="831" actId="47"/>
        <pc:sldMkLst>
          <pc:docMk/>
          <pc:sldMk cId="1025315700" sldId="2147471914"/>
        </pc:sldMkLst>
      </pc:sldChg>
      <pc:sldChg chg="del">
        <pc:chgData name="Hendery, Sara E." userId="16b337ac-3e46-4492-bfe1-1439cfc44d58" providerId="ADAL" clId="{E2712895-92AE-4518-B5B3-F8F0AF222844}" dt="2024-08-26T16:24:18.828" v="831" actId="47"/>
        <pc:sldMkLst>
          <pc:docMk/>
          <pc:sldMk cId="3524056269" sldId="2147471919"/>
        </pc:sldMkLst>
      </pc:sldChg>
      <pc:sldChg chg="del">
        <pc:chgData name="Hendery, Sara E." userId="16b337ac-3e46-4492-bfe1-1439cfc44d58" providerId="ADAL" clId="{E2712895-92AE-4518-B5B3-F8F0AF222844}" dt="2024-08-26T16:24:18.828" v="831" actId="47"/>
        <pc:sldMkLst>
          <pc:docMk/>
          <pc:sldMk cId="2638112771" sldId="2147471921"/>
        </pc:sldMkLst>
      </pc:sldChg>
      <pc:sldChg chg="del">
        <pc:chgData name="Hendery, Sara E." userId="16b337ac-3e46-4492-bfe1-1439cfc44d58" providerId="ADAL" clId="{E2712895-92AE-4518-B5B3-F8F0AF222844}" dt="2024-08-26T16:24:18.828" v="831" actId="47"/>
        <pc:sldMkLst>
          <pc:docMk/>
          <pc:sldMk cId="1572888537" sldId="2147471924"/>
        </pc:sldMkLst>
      </pc:sldChg>
      <pc:sldChg chg="del">
        <pc:chgData name="Hendery, Sara E." userId="16b337ac-3e46-4492-bfe1-1439cfc44d58" providerId="ADAL" clId="{E2712895-92AE-4518-B5B3-F8F0AF222844}" dt="2024-08-26T16:24:18.828" v="831" actId="47"/>
        <pc:sldMkLst>
          <pc:docMk/>
          <pc:sldMk cId="3056371081" sldId="2147471927"/>
        </pc:sldMkLst>
      </pc:sldChg>
      <pc:sldChg chg="del">
        <pc:chgData name="Hendery, Sara E." userId="16b337ac-3e46-4492-bfe1-1439cfc44d58" providerId="ADAL" clId="{E2712895-92AE-4518-B5B3-F8F0AF222844}" dt="2024-08-26T16:24:18.828" v="831" actId="47"/>
        <pc:sldMkLst>
          <pc:docMk/>
          <pc:sldMk cId="811138350" sldId="2147471928"/>
        </pc:sldMkLst>
      </pc:sldChg>
      <pc:sldChg chg="del">
        <pc:chgData name="Hendery, Sara E." userId="16b337ac-3e46-4492-bfe1-1439cfc44d58" providerId="ADAL" clId="{E2712895-92AE-4518-B5B3-F8F0AF222844}" dt="2024-08-26T16:24:18.828" v="831" actId="47"/>
        <pc:sldMkLst>
          <pc:docMk/>
          <pc:sldMk cId="3896661032" sldId="2147471935"/>
        </pc:sldMkLst>
      </pc:sldChg>
      <pc:sldChg chg="del">
        <pc:chgData name="Hendery, Sara E." userId="16b337ac-3e46-4492-bfe1-1439cfc44d58" providerId="ADAL" clId="{E2712895-92AE-4518-B5B3-F8F0AF222844}" dt="2024-08-26T16:24:18.828" v="831" actId="47"/>
        <pc:sldMkLst>
          <pc:docMk/>
          <pc:sldMk cId="4122372291" sldId="2147471937"/>
        </pc:sldMkLst>
      </pc:sldChg>
      <pc:sldChg chg="del">
        <pc:chgData name="Hendery, Sara E." userId="16b337ac-3e46-4492-bfe1-1439cfc44d58" providerId="ADAL" clId="{E2712895-92AE-4518-B5B3-F8F0AF222844}" dt="2024-08-26T16:24:18.828" v="831" actId="47"/>
        <pc:sldMkLst>
          <pc:docMk/>
          <pc:sldMk cId="2363030542" sldId="2147471940"/>
        </pc:sldMkLst>
      </pc:sldChg>
      <pc:sldChg chg="del">
        <pc:chgData name="Hendery, Sara E." userId="16b337ac-3e46-4492-bfe1-1439cfc44d58" providerId="ADAL" clId="{E2712895-92AE-4518-B5B3-F8F0AF222844}" dt="2024-08-26T16:24:18.828" v="831" actId="47"/>
        <pc:sldMkLst>
          <pc:docMk/>
          <pc:sldMk cId="701629335" sldId="2147471946"/>
        </pc:sldMkLst>
      </pc:sldChg>
      <pc:sldChg chg="del">
        <pc:chgData name="Hendery, Sara E." userId="16b337ac-3e46-4492-bfe1-1439cfc44d58" providerId="ADAL" clId="{E2712895-92AE-4518-B5B3-F8F0AF222844}" dt="2024-08-26T16:24:18.828" v="831" actId="47"/>
        <pc:sldMkLst>
          <pc:docMk/>
          <pc:sldMk cId="4227547721" sldId="2147471951"/>
        </pc:sldMkLst>
      </pc:sldChg>
      <pc:sldChg chg="del">
        <pc:chgData name="Hendery, Sara E." userId="16b337ac-3e46-4492-bfe1-1439cfc44d58" providerId="ADAL" clId="{E2712895-92AE-4518-B5B3-F8F0AF222844}" dt="2024-08-26T16:24:18.828" v="831" actId="47"/>
        <pc:sldMkLst>
          <pc:docMk/>
          <pc:sldMk cId="3918613586" sldId="2147471952"/>
        </pc:sldMkLst>
      </pc:sldChg>
      <pc:sldChg chg="del">
        <pc:chgData name="Hendery, Sara E." userId="16b337ac-3e46-4492-bfe1-1439cfc44d58" providerId="ADAL" clId="{E2712895-92AE-4518-B5B3-F8F0AF222844}" dt="2024-08-26T16:24:18.828" v="831" actId="47"/>
        <pc:sldMkLst>
          <pc:docMk/>
          <pc:sldMk cId="865967411" sldId="2147471953"/>
        </pc:sldMkLst>
      </pc:sldChg>
      <pc:sldChg chg="del">
        <pc:chgData name="Hendery, Sara E." userId="16b337ac-3e46-4492-bfe1-1439cfc44d58" providerId="ADAL" clId="{E2712895-92AE-4518-B5B3-F8F0AF222844}" dt="2024-08-26T16:24:18.828" v="831" actId="47"/>
        <pc:sldMkLst>
          <pc:docMk/>
          <pc:sldMk cId="159474201" sldId="2147471954"/>
        </pc:sldMkLst>
      </pc:sldChg>
      <pc:sldChg chg="del">
        <pc:chgData name="Hendery, Sara E." userId="16b337ac-3e46-4492-bfe1-1439cfc44d58" providerId="ADAL" clId="{E2712895-92AE-4518-B5B3-F8F0AF222844}" dt="2024-08-26T16:24:18.828" v="831" actId="47"/>
        <pc:sldMkLst>
          <pc:docMk/>
          <pc:sldMk cId="3990343077" sldId="2147471955"/>
        </pc:sldMkLst>
      </pc:sldChg>
      <pc:sldChg chg="del">
        <pc:chgData name="Hendery, Sara E." userId="16b337ac-3e46-4492-bfe1-1439cfc44d58" providerId="ADAL" clId="{E2712895-92AE-4518-B5B3-F8F0AF222844}" dt="2024-08-26T16:24:18.828" v="831" actId="47"/>
        <pc:sldMkLst>
          <pc:docMk/>
          <pc:sldMk cId="1083073661" sldId="2147471956"/>
        </pc:sldMkLst>
      </pc:sldChg>
      <pc:sldChg chg="del">
        <pc:chgData name="Hendery, Sara E." userId="16b337ac-3e46-4492-bfe1-1439cfc44d58" providerId="ADAL" clId="{E2712895-92AE-4518-B5B3-F8F0AF222844}" dt="2024-08-26T16:24:18.828" v="831" actId="47"/>
        <pc:sldMkLst>
          <pc:docMk/>
          <pc:sldMk cId="3197190638" sldId="2147472534"/>
        </pc:sldMkLst>
      </pc:sldChg>
      <pc:sldChg chg="del">
        <pc:chgData name="Hendery, Sara E." userId="16b337ac-3e46-4492-bfe1-1439cfc44d58" providerId="ADAL" clId="{E2712895-92AE-4518-B5B3-F8F0AF222844}" dt="2024-08-26T16:24:18.828" v="831" actId="47"/>
        <pc:sldMkLst>
          <pc:docMk/>
          <pc:sldMk cId="2184061547" sldId="2147472539"/>
        </pc:sldMkLst>
      </pc:sldChg>
      <pc:sldChg chg="del">
        <pc:chgData name="Hendery, Sara E." userId="16b337ac-3e46-4492-bfe1-1439cfc44d58" providerId="ADAL" clId="{E2712895-92AE-4518-B5B3-F8F0AF222844}" dt="2024-08-26T16:24:18.828" v="831" actId="47"/>
        <pc:sldMkLst>
          <pc:docMk/>
          <pc:sldMk cId="1311617066" sldId="2147472543"/>
        </pc:sldMkLst>
      </pc:sldChg>
      <pc:sldChg chg="del">
        <pc:chgData name="Hendery, Sara E." userId="16b337ac-3e46-4492-bfe1-1439cfc44d58" providerId="ADAL" clId="{E2712895-92AE-4518-B5B3-F8F0AF222844}" dt="2024-08-26T16:24:18.828" v="831" actId="47"/>
        <pc:sldMkLst>
          <pc:docMk/>
          <pc:sldMk cId="3284746403" sldId="2147472550"/>
        </pc:sldMkLst>
      </pc:sldChg>
      <pc:sldChg chg="del">
        <pc:chgData name="Hendery, Sara E." userId="16b337ac-3e46-4492-bfe1-1439cfc44d58" providerId="ADAL" clId="{E2712895-92AE-4518-B5B3-F8F0AF222844}" dt="2024-08-26T16:24:18.828" v="831" actId="47"/>
        <pc:sldMkLst>
          <pc:docMk/>
          <pc:sldMk cId="2100863172" sldId="2147472553"/>
        </pc:sldMkLst>
      </pc:sldChg>
      <pc:sldChg chg="del">
        <pc:chgData name="Hendery, Sara E." userId="16b337ac-3e46-4492-bfe1-1439cfc44d58" providerId="ADAL" clId="{E2712895-92AE-4518-B5B3-F8F0AF222844}" dt="2024-08-26T16:24:18.828" v="831" actId="47"/>
        <pc:sldMkLst>
          <pc:docMk/>
          <pc:sldMk cId="1748936392" sldId="2147472556"/>
        </pc:sldMkLst>
      </pc:sldChg>
      <pc:sldChg chg="del">
        <pc:chgData name="Hendery, Sara E." userId="16b337ac-3e46-4492-bfe1-1439cfc44d58" providerId="ADAL" clId="{E2712895-92AE-4518-B5B3-F8F0AF222844}" dt="2024-08-26T16:24:18.828" v="831" actId="47"/>
        <pc:sldMkLst>
          <pc:docMk/>
          <pc:sldMk cId="3706388954" sldId="2147472557"/>
        </pc:sldMkLst>
      </pc:sldChg>
      <pc:sldChg chg="del">
        <pc:chgData name="Hendery, Sara E." userId="16b337ac-3e46-4492-bfe1-1439cfc44d58" providerId="ADAL" clId="{E2712895-92AE-4518-B5B3-F8F0AF222844}" dt="2024-08-26T16:24:18.828" v="831" actId="47"/>
        <pc:sldMkLst>
          <pc:docMk/>
          <pc:sldMk cId="1691738966" sldId="2147472558"/>
        </pc:sldMkLst>
      </pc:sldChg>
      <pc:sldChg chg="del">
        <pc:chgData name="Hendery, Sara E." userId="16b337ac-3e46-4492-bfe1-1439cfc44d58" providerId="ADAL" clId="{E2712895-92AE-4518-B5B3-F8F0AF222844}" dt="2024-08-26T16:24:18.828" v="831" actId="47"/>
        <pc:sldMkLst>
          <pc:docMk/>
          <pc:sldMk cId="1699001866" sldId="2147472561"/>
        </pc:sldMkLst>
      </pc:sldChg>
      <pc:sldChg chg="del">
        <pc:chgData name="Hendery, Sara E." userId="16b337ac-3e46-4492-bfe1-1439cfc44d58" providerId="ADAL" clId="{E2712895-92AE-4518-B5B3-F8F0AF222844}" dt="2024-08-26T16:24:18.828" v="831" actId="47"/>
        <pc:sldMkLst>
          <pc:docMk/>
          <pc:sldMk cId="1937740335" sldId="2147472563"/>
        </pc:sldMkLst>
      </pc:sldChg>
      <pc:sldChg chg="del">
        <pc:chgData name="Hendery, Sara E." userId="16b337ac-3e46-4492-bfe1-1439cfc44d58" providerId="ADAL" clId="{E2712895-92AE-4518-B5B3-F8F0AF222844}" dt="2024-08-26T16:24:18.828" v="831" actId="47"/>
        <pc:sldMkLst>
          <pc:docMk/>
          <pc:sldMk cId="3030261231" sldId="2147472565"/>
        </pc:sldMkLst>
      </pc:sldChg>
      <pc:sldChg chg="del">
        <pc:chgData name="Hendery, Sara E." userId="16b337ac-3e46-4492-bfe1-1439cfc44d58" providerId="ADAL" clId="{E2712895-92AE-4518-B5B3-F8F0AF222844}" dt="2024-08-26T16:24:18.828" v="831" actId="47"/>
        <pc:sldMkLst>
          <pc:docMk/>
          <pc:sldMk cId="1110858300" sldId="2147472570"/>
        </pc:sldMkLst>
      </pc:sldChg>
      <pc:sldChg chg="del">
        <pc:chgData name="Hendery, Sara E." userId="16b337ac-3e46-4492-bfe1-1439cfc44d58" providerId="ADAL" clId="{E2712895-92AE-4518-B5B3-F8F0AF222844}" dt="2024-08-26T16:24:18.828" v="831" actId="47"/>
        <pc:sldMkLst>
          <pc:docMk/>
          <pc:sldMk cId="3630674759" sldId="2147472619"/>
        </pc:sldMkLst>
      </pc:sldChg>
      <pc:sldMasterChg chg="delSldLayout">
        <pc:chgData name="Hendery, Sara E." userId="16b337ac-3e46-4492-bfe1-1439cfc44d58" providerId="ADAL" clId="{E2712895-92AE-4518-B5B3-F8F0AF222844}" dt="2024-08-26T16:24:18.828" v="831" actId="47"/>
        <pc:sldMasterMkLst>
          <pc:docMk/>
          <pc:sldMasterMk cId="910990842" sldId="2147483699"/>
        </pc:sldMasterMkLst>
        <pc:sldLayoutChg chg="del">
          <pc:chgData name="Hendery, Sara E." userId="16b337ac-3e46-4492-bfe1-1439cfc44d58" providerId="ADAL" clId="{E2712895-92AE-4518-B5B3-F8F0AF222844}" dt="2024-08-26T16:24:18.828" v="831" actId="47"/>
          <pc:sldLayoutMkLst>
            <pc:docMk/>
            <pc:sldMasterMk cId="910990842" sldId="2147483699"/>
            <pc:sldLayoutMk cId="1462948434" sldId="2147483702"/>
          </pc:sldLayoutMkLst>
        </pc:sldLayoutChg>
      </pc:sldMasterChg>
      <pc:sldMasterChg chg="del delSldLayout">
        <pc:chgData name="Hendery, Sara E." userId="16b337ac-3e46-4492-bfe1-1439cfc44d58" providerId="ADAL" clId="{E2712895-92AE-4518-B5B3-F8F0AF222844}" dt="2024-08-26T16:24:18.828" v="831" actId="47"/>
        <pc:sldMasterMkLst>
          <pc:docMk/>
          <pc:sldMasterMk cId="2232040324" sldId="2147483706"/>
        </pc:sldMasterMkLst>
        <pc:sldLayoutChg chg="del">
          <pc:chgData name="Hendery, Sara E." userId="16b337ac-3e46-4492-bfe1-1439cfc44d58" providerId="ADAL" clId="{E2712895-92AE-4518-B5B3-F8F0AF222844}" dt="2024-08-26T16:24:18.828" v="831" actId="47"/>
          <pc:sldLayoutMkLst>
            <pc:docMk/>
            <pc:sldMasterMk cId="2232040324" sldId="2147483706"/>
            <pc:sldLayoutMk cId="4042434285" sldId="2147483707"/>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872241700" sldId="2147483708"/>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3499835984" sldId="2147483709"/>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1050730298" sldId="2147483710"/>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3758208535" sldId="2147483711"/>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3420322637" sldId="2147483712"/>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590291996" sldId="2147483713"/>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2098275890" sldId="2147483714"/>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1768756752" sldId="2147483715"/>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1213150385" sldId="2147483716"/>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2443686784" sldId="2147483717"/>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3827586951" sldId="2147483718"/>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4139470133" sldId="2147483719"/>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85683526" sldId="2147483720"/>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1969284361" sldId="2147483721"/>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871914918" sldId="2147483722"/>
          </pc:sldLayoutMkLst>
        </pc:sldLayoutChg>
        <pc:sldLayoutChg chg="del">
          <pc:chgData name="Hendery, Sara E." userId="16b337ac-3e46-4492-bfe1-1439cfc44d58" providerId="ADAL" clId="{E2712895-92AE-4518-B5B3-F8F0AF222844}" dt="2024-08-26T16:24:18.828" v="831" actId="47"/>
          <pc:sldLayoutMkLst>
            <pc:docMk/>
            <pc:sldMasterMk cId="2232040324" sldId="2147483706"/>
            <pc:sldLayoutMk cId="3526656006" sldId="2147483732"/>
          </pc:sldLayoutMkLst>
        </pc:sldLayoutChg>
      </pc:sldMasterChg>
      <pc:sldMasterChg chg="del delSldLayout">
        <pc:chgData name="Hendery, Sara E." userId="16b337ac-3e46-4492-bfe1-1439cfc44d58" providerId="ADAL" clId="{E2712895-92AE-4518-B5B3-F8F0AF222844}" dt="2024-08-26T16:24:18.828" v="831" actId="47"/>
        <pc:sldMasterMkLst>
          <pc:docMk/>
          <pc:sldMasterMk cId="1484324888" sldId="2147483723"/>
        </pc:sldMasterMkLst>
        <pc:sldLayoutChg chg="del">
          <pc:chgData name="Hendery, Sara E." userId="16b337ac-3e46-4492-bfe1-1439cfc44d58" providerId="ADAL" clId="{E2712895-92AE-4518-B5B3-F8F0AF222844}" dt="2024-08-26T16:24:18.828" v="831" actId="47"/>
          <pc:sldLayoutMkLst>
            <pc:docMk/>
            <pc:sldMasterMk cId="1484324888" sldId="2147483723"/>
            <pc:sldLayoutMk cId="798657700" sldId="2147483724"/>
          </pc:sldLayoutMkLst>
        </pc:sldLayoutChg>
        <pc:sldLayoutChg chg="del">
          <pc:chgData name="Hendery, Sara E." userId="16b337ac-3e46-4492-bfe1-1439cfc44d58" providerId="ADAL" clId="{E2712895-92AE-4518-B5B3-F8F0AF222844}" dt="2024-08-26T16:24:18.828" v="831" actId="47"/>
          <pc:sldLayoutMkLst>
            <pc:docMk/>
            <pc:sldMasterMk cId="1484324888" sldId="2147483723"/>
            <pc:sldLayoutMk cId="2887407682" sldId="2147483725"/>
          </pc:sldLayoutMkLst>
        </pc:sldLayoutChg>
        <pc:sldLayoutChg chg="del">
          <pc:chgData name="Hendery, Sara E." userId="16b337ac-3e46-4492-bfe1-1439cfc44d58" providerId="ADAL" clId="{E2712895-92AE-4518-B5B3-F8F0AF222844}" dt="2024-08-26T16:24:18.828" v="831" actId="47"/>
          <pc:sldLayoutMkLst>
            <pc:docMk/>
            <pc:sldMasterMk cId="1484324888" sldId="2147483723"/>
            <pc:sldLayoutMk cId="56767108" sldId="2147483726"/>
          </pc:sldLayoutMkLst>
        </pc:sldLayoutChg>
        <pc:sldLayoutChg chg="del">
          <pc:chgData name="Hendery, Sara E." userId="16b337ac-3e46-4492-bfe1-1439cfc44d58" providerId="ADAL" clId="{E2712895-92AE-4518-B5B3-F8F0AF222844}" dt="2024-08-26T16:24:18.828" v="831" actId="47"/>
          <pc:sldLayoutMkLst>
            <pc:docMk/>
            <pc:sldMasterMk cId="1484324888" sldId="2147483723"/>
            <pc:sldLayoutMk cId="3124982354" sldId="2147483727"/>
          </pc:sldLayoutMkLst>
        </pc:sldLayoutChg>
        <pc:sldLayoutChg chg="del">
          <pc:chgData name="Hendery, Sara E." userId="16b337ac-3e46-4492-bfe1-1439cfc44d58" providerId="ADAL" clId="{E2712895-92AE-4518-B5B3-F8F0AF222844}" dt="2024-08-26T16:24:18.828" v="831" actId="47"/>
          <pc:sldLayoutMkLst>
            <pc:docMk/>
            <pc:sldMasterMk cId="1484324888" sldId="2147483723"/>
            <pc:sldLayoutMk cId="2883397232" sldId="2147483728"/>
          </pc:sldLayoutMkLst>
        </pc:sldLayoutChg>
        <pc:sldLayoutChg chg="del">
          <pc:chgData name="Hendery, Sara E." userId="16b337ac-3e46-4492-bfe1-1439cfc44d58" providerId="ADAL" clId="{E2712895-92AE-4518-B5B3-F8F0AF222844}" dt="2024-08-26T16:24:18.828" v="831" actId="47"/>
          <pc:sldLayoutMkLst>
            <pc:docMk/>
            <pc:sldMasterMk cId="1484324888" sldId="2147483723"/>
            <pc:sldLayoutMk cId="1473455331" sldId="2147483729"/>
          </pc:sldLayoutMkLst>
        </pc:sldLayoutChg>
        <pc:sldLayoutChg chg="del">
          <pc:chgData name="Hendery, Sara E." userId="16b337ac-3e46-4492-bfe1-1439cfc44d58" providerId="ADAL" clId="{E2712895-92AE-4518-B5B3-F8F0AF222844}" dt="2024-08-26T16:24:18.828" v="831" actId="47"/>
          <pc:sldLayoutMkLst>
            <pc:docMk/>
            <pc:sldMasterMk cId="1484324888" sldId="2147483723"/>
            <pc:sldLayoutMk cId="273408157" sldId="2147483730"/>
          </pc:sldLayoutMkLst>
        </pc:sldLayoutChg>
        <pc:sldLayoutChg chg="del">
          <pc:chgData name="Hendery, Sara E." userId="16b337ac-3e46-4492-bfe1-1439cfc44d58" providerId="ADAL" clId="{E2712895-92AE-4518-B5B3-F8F0AF222844}" dt="2024-08-26T16:24:18.828" v="831" actId="47"/>
          <pc:sldLayoutMkLst>
            <pc:docMk/>
            <pc:sldMasterMk cId="1484324888" sldId="2147483723"/>
            <pc:sldLayoutMk cId="4180991524" sldId="2147483731"/>
          </pc:sldLayoutMkLst>
        </pc:sldLayoutChg>
      </pc:sldMasterChg>
    </pc:docChg>
  </pc:docChgLst>
  <pc:docChgLst>
    <pc:chgData name="Sara Hendery" userId="f325871a-63f3-4f08-ae16-74c23a15e324" providerId="ADAL" clId="{8691AE24-24E2-40BF-870C-79272FED7B57}"/>
    <pc:docChg chg="delSld delMainMaster">
      <pc:chgData name="Sara Hendery" userId="f325871a-63f3-4f08-ae16-74c23a15e324" providerId="ADAL" clId="{8691AE24-24E2-40BF-870C-79272FED7B57}" dt="2024-08-27T12:13:05.990" v="0" actId="47"/>
      <pc:docMkLst>
        <pc:docMk/>
      </pc:docMkLst>
      <pc:sldChg chg="del">
        <pc:chgData name="Sara Hendery" userId="f325871a-63f3-4f08-ae16-74c23a15e324" providerId="ADAL" clId="{8691AE24-24E2-40BF-870C-79272FED7B57}" dt="2024-08-27T12:13:05.990" v="0" actId="47"/>
        <pc:sldMkLst>
          <pc:docMk/>
          <pc:sldMk cId="1000218651" sldId="2145706940"/>
        </pc:sldMkLst>
      </pc:sldChg>
      <pc:sldChg chg="del">
        <pc:chgData name="Sara Hendery" userId="f325871a-63f3-4f08-ae16-74c23a15e324" providerId="ADAL" clId="{8691AE24-24E2-40BF-870C-79272FED7B57}" dt="2024-08-27T12:13:05.990" v="0" actId="47"/>
        <pc:sldMkLst>
          <pc:docMk/>
          <pc:sldMk cId="3992866948" sldId="2145707065"/>
        </pc:sldMkLst>
      </pc:sldChg>
      <pc:sldChg chg="del">
        <pc:chgData name="Sara Hendery" userId="f325871a-63f3-4f08-ae16-74c23a15e324" providerId="ADAL" clId="{8691AE24-24E2-40BF-870C-79272FED7B57}" dt="2024-08-27T12:13:05.990" v="0" actId="47"/>
        <pc:sldMkLst>
          <pc:docMk/>
          <pc:sldMk cId="551532499" sldId="2145707066"/>
        </pc:sldMkLst>
      </pc:sldChg>
      <pc:sldChg chg="del">
        <pc:chgData name="Sara Hendery" userId="f325871a-63f3-4f08-ae16-74c23a15e324" providerId="ADAL" clId="{8691AE24-24E2-40BF-870C-79272FED7B57}" dt="2024-08-27T12:13:05.990" v="0" actId="47"/>
        <pc:sldMkLst>
          <pc:docMk/>
          <pc:sldMk cId="1734218887" sldId="2147376904"/>
        </pc:sldMkLst>
      </pc:sldChg>
      <pc:sldChg chg="del">
        <pc:chgData name="Sara Hendery" userId="f325871a-63f3-4f08-ae16-74c23a15e324" providerId="ADAL" clId="{8691AE24-24E2-40BF-870C-79272FED7B57}" dt="2024-08-27T12:13:05.990" v="0" actId="47"/>
        <pc:sldMkLst>
          <pc:docMk/>
          <pc:sldMk cId="2264821770" sldId="2147376910"/>
        </pc:sldMkLst>
      </pc:sldChg>
      <pc:sldChg chg="del">
        <pc:chgData name="Sara Hendery" userId="f325871a-63f3-4f08-ae16-74c23a15e324" providerId="ADAL" clId="{8691AE24-24E2-40BF-870C-79272FED7B57}" dt="2024-08-27T12:13:05.990" v="0" actId="47"/>
        <pc:sldMkLst>
          <pc:docMk/>
          <pc:sldMk cId="3142197195" sldId="2147376914"/>
        </pc:sldMkLst>
      </pc:sldChg>
      <pc:sldChg chg="del">
        <pc:chgData name="Sara Hendery" userId="f325871a-63f3-4f08-ae16-74c23a15e324" providerId="ADAL" clId="{8691AE24-24E2-40BF-870C-79272FED7B57}" dt="2024-08-27T12:13:05.990" v="0" actId="47"/>
        <pc:sldMkLst>
          <pc:docMk/>
          <pc:sldMk cId="2427431908" sldId="2147376917"/>
        </pc:sldMkLst>
      </pc:sldChg>
      <pc:sldChg chg="del">
        <pc:chgData name="Sara Hendery" userId="f325871a-63f3-4f08-ae16-74c23a15e324" providerId="ADAL" clId="{8691AE24-24E2-40BF-870C-79272FED7B57}" dt="2024-08-27T12:13:05.990" v="0" actId="47"/>
        <pc:sldMkLst>
          <pc:docMk/>
          <pc:sldMk cId="2895099774" sldId="2147479628"/>
        </pc:sldMkLst>
      </pc:sldChg>
      <pc:sldChg chg="del">
        <pc:chgData name="Sara Hendery" userId="f325871a-63f3-4f08-ae16-74c23a15e324" providerId="ADAL" clId="{8691AE24-24E2-40BF-870C-79272FED7B57}" dt="2024-08-27T12:13:05.990" v="0" actId="47"/>
        <pc:sldMkLst>
          <pc:docMk/>
          <pc:sldMk cId="3968214084" sldId="2147479685"/>
        </pc:sldMkLst>
      </pc:sldChg>
      <pc:sldChg chg="del">
        <pc:chgData name="Sara Hendery" userId="f325871a-63f3-4f08-ae16-74c23a15e324" providerId="ADAL" clId="{8691AE24-24E2-40BF-870C-79272FED7B57}" dt="2024-08-27T12:13:05.990" v="0" actId="47"/>
        <pc:sldMkLst>
          <pc:docMk/>
          <pc:sldMk cId="151466222" sldId="2147479697"/>
        </pc:sldMkLst>
      </pc:sldChg>
      <pc:sldChg chg="del">
        <pc:chgData name="Sara Hendery" userId="f325871a-63f3-4f08-ae16-74c23a15e324" providerId="ADAL" clId="{8691AE24-24E2-40BF-870C-79272FED7B57}" dt="2024-08-27T12:13:05.990" v="0" actId="47"/>
        <pc:sldMkLst>
          <pc:docMk/>
          <pc:sldMk cId="3905029629" sldId="2147479701"/>
        </pc:sldMkLst>
      </pc:sldChg>
      <pc:sldChg chg="del">
        <pc:chgData name="Sara Hendery" userId="f325871a-63f3-4f08-ae16-74c23a15e324" providerId="ADAL" clId="{8691AE24-24E2-40BF-870C-79272FED7B57}" dt="2024-08-27T12:13:05.990" v="0" actId="47"/>
        <pc:sldMkLst>
          <pc:docMk/>
          <pc:sldMk cId="4024632231" sldId="2147479708"/>
        </pc:sldMkLst>
      </pc:sldChg>
      <pc:sldChg chg="del">
        <pc:chgData name="Sara Hendery" userId="f325871a-63f3-4f08-ae16-74c23a15e324" providerId="ADAL" clId="{8691AE24-24E2-40BF-870C-79272FED7B57}" dt="2024-08-27T12:13:05.990" v="0" actId="47"/>
        <pc:sldMkLst>
          <pc:docMk/>
          <pc:sldMk cId="1027373904" sldId="2147479709"/>
        </pc:sldMkLst>
      </pc:sldChg>
      <pc:sldChg chg="del">
        <pc:chgData name="Sara Hendery" userId="f325871a-63f3-4f08-ae16-74c23a15e324" providerId="ADAL" clId="{8691AE24-24E2-40BF-870C-79272FED7B57}" dt="2024-08-27T12:13:05.990" v="0" actId="47"/>
        <pc:sldMkLst>
          <pc:docMk/>
          <pc:sldMk cId="3865054216" sldId="2147479710"/>
        </pc:sldMkLst>
      </pc:sldChg>
      <pc:sldChg chg="del">
        <pc:chgData name="Sara Hendery" userId="f325871a-63f3-4f08-ae16-74c23a15e324" providerId="ADAL" clId="{8691AE24-24E2-40BF-870C-79272FED7B57}" dt="2024-08-27T12:13:05.990" v="0" actId="47"/>
        <pc:sldMkLst>
          <pc:docMk/>
          <pc:sldMk cId="2200176940" sldId="2147479711"/>
        </pc:sldMkLst>
      </pc:sldChg>
      <pc:sldChg chg="del">
        <pc:chgData name="Sara Hendery" userId="f325871a-63f3-4f08-ae16-74c23a15e324" providerId="ADAL" clId="{8691AE24-24E2-40BF-870C-79272FED7B57}" dt="2024-08-27T12:13:05.990" v="0" actId="47"/>
        <pc:sldMkLst>
          <pc:docMk/>
          <pc:sldMk cId="3673169672" sldId="2147479714"/>
        </pc:sldMkLst>
      </pc:sldChg>
      <pc:sldChg chg="del">
        <pc:chgData name="Sara Hendery" userId="f325871a-63f3-4f08-ae16-74c23a15e324" providerId="ADAL" clId="{8691AE24-24E2-40BF-870C-79272FED7B57}" dt="2024-08-27T12:13:05.990" v="0" actId="47"/>
        <pc:sldMkLst>
          <pc:docMk/>
          <pc:sldMk cId="1200216724" sldId="2147479715"/>
        </pc:sldMkLst>
      </pc:sldChg>
      <pc:sldMasterChg chg="del delSldLayout">
        <pc:chgData name="Sara Hendery" userId="f325871a-63f3-4f08-ae16-74c23a15e324" providerId="ADAL" clId="{8691AE24-24E2-40BF-870C-79272FED7B57}" dt="2024-08-27T12:13:05.990" v="0" actId="47"/>
        <pc:sldMasterMkLst>
          <pc:docMk/>
          <pc:sldMasterMk cId="155543118" sldId="2147483751"/>
        </pc:sldMasterMkLst>
        <pc:sldLayoutChg chg="del">
          <pc:chgData name="Sara Hendery" userId="f325871a-63f3-4f08-ae16-74c23a15e324" providerId="ADAL" clId="{8691AE24-24E2-40BF-870C-79272FED7B57}" dt="2024-08-27T12:13:05.990" v="0" actId="47"/>
          <pc:sldLayoutMkLst>
            <pc:docMk/>
            <pc:sldMasterMk cId="155543118" sldId="2147483751"/>
            <pc:sldLayoutMk cId="1145745467" sldId="2147483752"/>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4289079963" sldId="2147483753"/>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231947729" sldId="2147483754"/>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4257690397" sldId="2147483755"/>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93753826" sldId="2147483756"/>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2179515905" sldId="2147483757"/>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2121991297" sldId="2147483758"/>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213931442" sldId="2147483759"/>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2439166907" sldId="2147483760"/>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336619986" sldId="2147483761"/>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743155289" sldId="2147483762"/>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2120594075" sldId="2147483763"/>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2142645612" sldId="2147483764"/>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3730579757" sldId="2147483765"/>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3227204577" sldId="2147483766"/>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242260604" sldId="2147483767"/>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241283826" sldId="2147483768"/>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3973017786" sldId="2147483769"/>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639272141" sldId="2147483770"/>
          </pc:sldLayoutMkLst>
        </pc:sldLayoutChg>
        <pc:sldLayoutChg chg="del">
          <pc:chgData name="Sara Hendery" userId="f325871a-63f3-4f08-ae16-74c23a15e324" providerId="ADAL" clId="{8691AE24-24E2-40BF-870C-79272FED7B57}" dt="2024-08-27T12:13:05.990" v="0" actId="47"/>
          <pc:sldLayoutMkLst>
            <pc:docMk/>
            <pc:sldMasterMk cId="155543118" sldId="2147483751"/>
            <pc:sldLayoutMk cId="2577657610" sldId="2147483771"/>
          </pc:sldLayoutMkLst>
        </pc:sldLayoutChg>
      </pc:sldMasterChg>
      <pc:sldMasterChg chg="del delSldLayout">
        <pc:chgData name="Sara Hendery" userId="f325871a-63f3-4f08-ae16-74c23a15e324" providerId="ADAL" clId="{8691AE24-24E2-40BF-870C-79272FED7B57}" dt="2024-08-27T12:13:05.990" v="0" actId="47"/>
        <pc:sldMasterMkLst>
          <pc:docMk/>
          <pc:sldMasterMk cId="2787133947" sldId="2147483772"/>
        </pc:sldMasterMkLst>
        <pc:sldLayoutChg chg="del">
          <pc:chgData name="Sara Hendery" userId="f325871a-63f3-4f08-ae16-74c23a15e324" providerId="ADAL" clId="{8691AE24-24E2-40BF-870C-79272FED7B57}" dt="2024-08-27T12:13:05.990" v="0" actId="47"/>
          <pc:sldLayoutMkLst>
            <pc:docMk/>
            <pc:sldMasterMk cId="2787133947" sldId="2147483772"/>
            <pc:sldLayoutMk cId="2973532875" sldId="2147483773"/>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3473983792" sldId="2147483774"/>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4143738644" sldId="2147483775"/>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66206507" sldId="2147483776"/>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2737376104" sldId="2147483777"/>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3515019708" sldId="2147483778"/>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1152708883" sldId="2147483779"/>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259504154" sldId="2147483780"/>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2594391048" sldId="2147483781"/>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529684188" sldId="2147483782"/>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3897116162" sldId="2147483783"/>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1908542207" sldId="2147483784"/>
          </pc:sldLayoutMkLst>
        </pc:sldLayoutChg>
        <pc:sldLayoutChg chg="del">
          <pc:chgData name="Sara Hendery" userId="f325871a-63f3-4f08-ae16-74c23a15e324" providerId="ADAL" clId="{8691AE24-24E2-40BF-870C-79272FED7B57}" dt="2024-08-27T12:13:05.990" v="0" actId="47"/>
          <pc:sldLayoutMkLst>
            <pc:docMk/>
            <pc:sldMasterMk cId="2787133947" sldId="2147483772"/>
            <pc:sldLayoutMk cId="2416473947" sldId="2147483785"/>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dc.gov\adp\FCID_DVRD_2_FLU\IRAT\most%20recent%20IRAT%20Excel%20Workbooks\Graphics\Data%20for%20IRAT%20Graphics_%20AIV%20H5N1%20clade%202.3.4.4b_%20June2024.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945929853142223E-2"/>
          <c:y val="8.6112124096096199E-2"/>
          <c:w val="0.90141951403080056"/>
          <c:h val="0.80205046867673946"/>
        </c:manualLayout>
      </c:layout>
      <c:scatterChart>
        <c:scatterStyle val="lineMarker"/>
        <c:varyColors val="0"/>
        <c:ser>
          <c:idx val="0"/>
          <c:order val="0"/>
          <c:tx>
            <c:strRef>
              <c:f>'with Names (2)'!$E$1</c:f>
              <c:strCache>
                <c:ptCount val="1"/>
                <c:pt idx="0">
                  <c:v>Impact Score</c:v>
                </c:pt>
              </c:strCache>
            </c:strRef>
          </c:tx>
          <c:spPr>
            <a:ln w="19050" cap="rnd">
              <a:noFill/>
              <a:round/>
            </a:ln>
            <a:effectLst/>
          </c:spPr>
          <c:marker>
            <c:symbol val="circle"/>
            <c:size val="5"/>
            <c:spPr>
              <a:solidFill>
                <a:schemeClr val="accent1"/>
              </a:solidFill>
              <a:ln w="47625">
                <a:solidFill>
                  <a:schemeClr val="accent1"/>
                </a:solidFill>
              </a:ln>
              <a:effectLst/>
            </c:spPr>
          </c:marker>
          <c:dPt>
            <c:idx val="0"/>
            <c:marker>
              <c:symbol val="circle"/>
              <c:size val="5"/>
              <c:spPr>
                <a:solidFill>
                  <a:schemeClr val="accent1"/>
                </a:solidFill>
                <a:ln w="47625">
                  <a:solidFill>
                    <a:srgbClr val="600000"/>
                  </a:solidFill>
                </a:ln>
                <a:effectLst/>
              </c:spPr>
            </c:marker>
            <c:bubble3D val="0"/>
            <c:extLst>
              <c:ext xmlns:c16="http://schemas.microsoft.com/office/drawing/2014/chart" uri="{C3380CC4-5D6E-409C-BE32-E72D297353CC}">
                <c16:uniqueId val="{00000000-008D-4287-81FE-7194BCF71C1D}"/>
              </c:ext>
            </c:extLst>
          </c:dPt>
          <c:dPt>
            <c:idx val="1"/>
            <c:marker>
              <c:symbol val="circle"/>
              <c:size val="5"/>
              <c:spPr>
                <a:solidFill>
                  <a:schemeClr val="accent1"/>
                </a:solidFill>
                <a:ln w="47625">
                  <a:solidFill>
                    <a:srgbClr val="C00000"/>
                  </a:solidFill>
                </a:ln>
                <a:effectLst/>
              </c:spPr>
            </c:marker>
            <c:bubble3D val="0"/>
            <c:extLst>
              <c:ext xmlns:c16="http://schemas.microsoft.com/office/drawing/2014/chart" uri="{C3380CC4-5D6E-409C-BE32-E72D297353CC}">
                <c16:uniqueId val="{00000001-008D-4287-81FE-7194BCF71C1D}"/>
              </c:ext>
            </c:extLst>
          </c:dPt>
          <c:dPt>
            <c:idx val="2"/>
            <c:marker>
              <c:symbol val="circle"/>
              <c:size val="5"/>
              <c:spPr>
                <a:solidFill>
                  <a:schemeClr val="accent1"/>
                </a:solidFill>
                <a:ln w="47625">
                  <a:solidFill>
                    <a:srgbClr val="7D522F"/>
                  </a:solidFill>
                </a:ln>
                <a:effectLst/>
              </c:spPr>
            </c:marker>
            <c:bubble3D val="0"/>
            <c:extLst>
              <c:ext xmlns:c16="http://schemas.microsoft.com/office/drawing/2014/chart" uri="{C3380CC4-5D6E-409C-BE32-E72D297353CC}">
                <c16:uniqueId val="{00000002-008D-4287-81FE-7194BCF71C1D}"/>
              </c:ext>
            </c:extLst>
          </c:dPt>
          <c:dPt>
            <c:idx val="3"/>
            <c:marker>
              <c:symbol val="circle"/>
              <c:size val="5"/>
              <c:spPr>
                <a:solidFill>
                  <a:schemeClr val="accent1"/>
                </a:solidFill>
                <a:ln w="47625">
                  <a:solidFill>
                    <a:schemeClr val="bg1">
                      <a:lumMod val="65000"/>
                    </a:schemeClr>
                  </a:solidFill>
                </a:ln>
                <a:effectLst/>
              </c:spPr>
            </c:marker>
            <c:bubble3D val="0"/>
            <c:extLst>
              <c:ext xmlns:c16="http://schemas.microsoft.com/office/drawing/2014/chart" uri="{C3380CC4-5D6E-409C-BE32-E72D297353CC}">
                <c16:uniqueId val="{00000003-008D-4287-81FE-7194BCF71C1D}"/>
              </c:ext>
            </c:extLst>
          </c:dPt>
          <c:dPt>
            <c:idx val="4"/>
            <c:marker>
              <c:symbol val="circle"/>
              <c:size val="5"/>
              <c:spPr>
                <a:solidFill>
                  <a:schemeClr val="accent1"/>
                </a:solidFill>
                <a:ln w="47625">
                  <a:solidFill>
                    <a:schemeClr val="accent4">
                      <a:lumMod val="60000"/>
                      <a:lumOff val="40000"/>
                    </a:schemeClr>
                  </a:solidFill>
                </a:ln>
                <a:effectLst/>
              </c:spPr>
            </c:marker>
            <c:bubble3D val="0"/>
            <c:extLst>
              <c:ext xmlns:c16="http://schemas.microsoft.com/office/drawing/2014/chart" uri="{C3380CC4-5D6E-409C-BE32-E72D297353CC}">
                <c16:uniqueId val="{00000004-008D-4287-81FE-7194BCF71C1D}"/>
              </c:ext>
            </c:extLst>
          </c:dPt>
          <c:dPt>
            <c:idx val="5"/>
            <c:marker>
              <c:symbol val="circle"/>
              <c:size val="5"/>
              <c:spPr>
                <a:solidFill>
                  <a:schemeClr val="accent1"/>
                </a:solidFill>
                <a:ln w="47625">
                  <a:solidFill>
                    <a:schemeClr val="accent1">
                      <a:lumMod val="75000"/>
                    </a:schemeClr>
                  </a:solidFill>
                </a:ln>
                <a:effectLst/>
              </c:spPr>
            </c:marker>
            <c:bubble3D val="0"/>
            <c:extLst>
              <c:ext xmlns:c16="http://schemas.microsoft.com/office/drawing/2014/chart" uri="{C3380CC4-5D6E-409C-BE32-E72D297353CC}">
                <c16:uniqueId val="{00000005-008D-4287-81FE-7194BCF71C1D}"/>
              </c:ext>
            </c:extLst>
          </c:dPt>
          <c:dPt>
            <c:idx val="6"/>
            <c:marker>
              <c:symbol val="circle"/>
              <c:size val="5"/>
              <c:spPr>
                <a:solidFill>
                  <a:schemeClr val="accent1"/>
                </a:solidFill>
                <a:ln w="47625">
                  <a:solidFill>
                    <a:srgbClr val="D8C65C"/>
                  </a:solidFill>
                </a:ln>
                <a:effectLst/>
              </c:spPr>
            </c:marker>
            <c:bubble3D val="0"/>
            <c:extLst>
              <c:ext xmlns:c16="http://schemas.microsoft.com/office/drawing/2014/chart" uri="{C3380CC4-5D6E-409C-BE32-E72D297353CC}">
                <c16:uniqueId val="{00000006-008D-4287-81FE-7194BCF71C1D}"/>
              </c:ext>
            </c:extLst>
          </c:dPt>
          <c:dPt>
            <c:idx val="7"/>
            <c:marker>
              <c:symbol val="circle"/>
              <c:size val="5"/>
              <c:spPr>
                <a:solidFill>
                  <a:schemeClr val="accent1"/>
                </a:solidFill>
                <a:ln w="47625">
                  <a:solidFill>
                    <a:schemeClr val="accent5">
                      <a:lumMod val="75000"/>
                    </a:schemeClr>
                  </a:solidFill>
                </a:ln>
                <a:effectLst/>
              </c:spPr>
            </c:marker>
            <c:bubble3D val="0"/>
            <c:extLst>
              <c:ext xmlns:c16="http://schemas.microsoft.com/office/drawing/2014/chart" uri="{C3380CC4-5D6E-409C-BE32-E72D297353CC}">
                <c16:uniqueId val="{00000007-008D-4287-81FE-7194BCF71C1D}"/>
              </c:ext>
            </c:extLst>
          </c:dPt>
          <c:dPt>
            <c:idx val="8"/>
            <c:marker>
              <c:symbol val="circle"/>
              <c:size val="5"/>
              <c:spPr>
                <a:solidFill>
                  <a:schemeClr val="accent1"/>
                </a:solidFill>
                <a:ln w="47625">
                  <a:solidFill>
                    <a:schemeClr val="accent2">
                      <a:lumMod val="75000"/>
                    </a:schemeClr>
                  </a:solidFill>
                </a:ln>
                <a:effectLst/>
              </c:spPr>
            </c:marker>
            <c:bubble3D val="0"/>
            <c:extLst>
              <c:ext xmlns:c16="http://schemas.microsoft.com/office/drawing/2014/chart" uri="{C3380CC4-5D6E-409C-BE32-E72D297353CC}">
                <c16:uniqueId val="{00000008-008D-4287-81FE-7194BCF71C1D}"/>
              </c:ext>
            </c:extLst>
          </c:dPt>
          <c:dPt>
            <c:idx val="9"/>
            <c:marker>
              <c:symbol val="circle"/>
              <c:size val="5"/>
              <c:spPr>
                <a:solidFill>
                  <a:schemeClr val="accent1"/>
                </a:solidFill>
                <a:ln w="47625">
                  <a:solidFill>
                    <a:schemeClr val="bg2">
                      <a:lumMod val="50000"/>
                    </a:schemeClr>
                  </a:solidFill>
                </a:ln>
                <a:effectLst/>
              </c:spPr>
            </c:marker>
            <c:bubble3D val="0"/>
            <c:extLst>
              <c:ext xmlns:c16="http://schemas.microsoft.com/office/drawing/2014/chart" uri="{C3380CC4-5D6E-409C-BE32-E72D297353CC}">
                <c16:uniqueId val="{00000009-008D-4287-81FE-7194BCF71C1D}"/>
              </c:ext>
            </c:extLst>
          </c:dPt>
          <c:dPt>
            <c:idx val="10"/>
            <c:marker>
              <c:symbol val="circle"/>
              <c:size val="5"/>
              <c:spPr>
                <a:solidFill>
                  <a:schemeClr val="accent1"/>
                </a:solidFill>
                <a:ln w="47625">
                  <a:solidFill>
                    <a:srgbClr val="7030A0"/>
                  </a:solidFill>
                </a:ln>
                <a:effectLst/>
              </c:spPr>
            </c:marker>
            <c:bubble3D val="0"/>
            <c:extLst>
              <c:ext xmlns:c16="http://schemas.microsoft.com/office/drawing/2014/chart" uri="{C3380CC4-5D6E-409C-BE32-E72D297353CC}">
                <c16:uniqueId val="{0000000A-008D-4287-81FE-7194BCF71C1D}"/>
              </c:ext>
            </c:extLst>
          </c:dPt>
          <c:dPt>
            <c:idx val="11"/>
            <c:marker>
              <c:symbol val="circle"/>
              <c:size val="5"/>
              <c:spPr>
                <a:solidFill>
                  <a:schemeClr val="accent1"/>
                </a:solidFill>
                <a:ln w="47625">
                  <a:solidFill>
                    <a:srgbClr val="AC8300"/>
                  </a:solidFill>
                </a:ln>
                <a:effectLst/>
              </c:spPr>
            </c:marker>
            <c:bubble3D val="0"/>
            <c:extLst>
              <c:ext xmlns:c16="http://schemas.microsoft.com/office/drawing/2014/chart" uri="{C3380CC4-5D6E-409C-BE32-E72D297353CC}">
                <c16:uniqueId val="{0000000B-008D-4287-81FE-7194BCF71C1D}"/>
              </c:ext>
            </c:extLst>
          </c:dPt>
          <c:dPt>
            <c:idx val="12"/>
            <c:marker>
              <c:symbol val="circle"/>
              <c:size val="5"/>
              <c:spPr>
                <a:solidFill>
                  <a:schemeClr val="accent1"/>
                </a:solidFill>
                <a:ln w="47625">
                  <a:solidFill>
                    <a:schemeClr val="accent2">
                      <a:lumMod val="60000"/>
                      <a:lumOff val="40000"/>
                    </a:schemeClr>
                  </a:solidFill>
                </a:ln>
                <a:effectLst/>
              </c:spPr>
            </c:marker>
            <c:bubble3D val="0"/>
            <c:extLst>
              <c:ext xmlns:c16="http://schemas.microsoft.com/office/drawing/2014/chart" uri="{C3380CC4-5D6E-409C-BE32-E72D297353CC}">
                <c16:uniqueId val="{0000000C-008D-4287-81FE-7194BCF71C1D}"/>
              </c:ext>
            </c:extLst>
          </c:dPt>
          <c:dPt>
            <c:idx val="13"/>
            <c:marker>
              <c:symbol val="circle"/>
              <c:size val="5"/>
              <c:spPr>
                <a:solidFill>
                  <a:schemeClr val="accent1"/>
                </a:solidFill>
                <a:ln w="47625">
                  <a:solidFill>
                    <a:srgbClr val="DE1889"/>
                  </a:solidFill>
                </a:ln>
                <a:effectLst/>
              </c:spPr>
            </c:marker>
            <c:bubble3D val="0"/>
            <c:extLst>
              <c:ext xmlns:c16="http://schemas.microsoft.com/office/drawing/2014/chart" uri="{C3380CC4-5D6E-409C-BE32-E72D297353CC}">
                <c16:uniqueId val="{0000000D-008D-4287-81FE-7194BCF71C1D}"/>
              </c:ext>
            </c:extLst>
          </c:dPt>
          <c:dPt>
            <c:idx val="14"/>
            <c:marker>
              <c:symbol val="circle"/>
              <c:size val="5"/>
              <c:spPr>
                <a:solidFill>
                  <a:schemeClr val="accent1"/>
                </a:solidFill>
                <a:ln w="47625">
                  <a:solidFill>
                    <a:srgbClr val="7D08DE"/>
                  </a:solidFill>
                </a:ln>
                <a:effectLst/>
              </c:spPr>
            </c:marker>
            <c:bubble3D val="0"/>
            <c:extLst>
              <c:ext xmlns:c16="http://schemas.microsoft.com/office/drawing/2014/chart" uri="{C3380CC4-5D6E-409C-BE32-E72D297353CC}">
                <c16:uniqueId val="{0000000E-008D-4287-81FE-7194BCF71C1D}"/>
              </c:ext>
            </c:extLst>
          </c:dPt>
          <c:dLbls>
            <c:delete val="1"/>
          </c:dLbls>
          <c:xVal>
            <c:numRef>
              <c:f>'with Names (2)'!$D$2:$D$17</c:f>
              <c:numCache>
                <c:formatCode>General</c:formatCode>
                <c:ptCount val="16"/>
                <c:pt idx="0">
                  <c:v>7.5</c:v>
                </c:pt>
                <c:pt idx="1">
                  <c:v>6.6</c:v>
                </c:pt>
                <c:pt idx="2">
                  <c:v>6.5</c:v>
                </c:pt>
                <c:pt idx="3" formatCode="0.0">
                  <c:v>6.2</c:v>
                </c:pt>
                <c:pt idx="4" formatCode="0.0">
                  <c:v>6</c:v>
                </c:pt>
                <c:pt idx="5" formatCode="0.0">
                  <c:v>5.8</c:v>
                </c:pt>
                <c:pt idx="6" formatCode="0.0">
                  <c:v>5.3</c:v>
                </c:pt>
                <c:pt idx="7" formatCode="0.0">
                  <c:v>5.2</c:v>
                </c:pt>
                <c:pt idx="8" formatCode="0.0">
                  <c:v>5.13</c:v>
                </c:pt>
                <c:pt idx="9" formatCode="0.0">
                  <c:v>5</c:v>
                </c:pt>
                <c:pt idx="10" formatCode="0.0">
                  <c:v>4.5999999999999996</c:v>
                </c:pt>
                <c:pt idx="11" formatCode="0.0">
                  <c:v>4.4000000000000004</c:v>
                </c:pt>
                <c:pt idx="12" formatCode="0.0">
                  <c:v>4.2</c:v>
                </c:pt>
                <c:pt idx="13" formatCode="0.0">
                  <c:v>3.4</c:v>
                </c:pt>
                <c:pt idx="14" formatCode="0.0">
                  <c:v>3.1</c:v>
                </c:pt>
                <c:pt idx="15" formatCode="0.0">
                  <c:v>5.8</c:v>
                </c:pt>
              </c:numCache>
            </c:numRef>
          </c:xVal>
          <c:yVal>
            <c:numRef>
              <c:f>'with Names (2)'!$E$2:$E$17</c:f>
              <c:numCache>
                <c:formatCode>General</c:formatCode>
                <c:ptCount val="16"/>
                <c:pt idx="0" formatCode="0.0">
                  <c:v>6.9</c:v>
                </c:pt>
                <c:pt idx="1">
                  <c:v>5.8</c:v>
                </c:pt>
                <c:pt idx="2">
                  <c:v>7.5</c:v>
                </c:pt>
                <c:pt idx="3" formatCode="0.0">
                  <c:v>5.9</c:v>
                </c:pt>
                <c:pt idx="4" formatCode="0.0">
                  <c:v>4.5</c:v>
                </c:pt>
                <c:pt idx="5" formatCode="0.0">
                  <c:v>5.7</c:v>
                </c:pt>
                <c:pt idx="6" formatCode="0.0">
                  <c:v>6.3</c:v>
                </c:pt>
                <c:pt idx="7" formatCode="0.0">
                  <c:v>6.6</c:v>
                </c:pt>
                <c:pt idx="8" formatCode="0.0">
                  <c:v>6.24</c:v>
                </c:pt>
                <c:pt idx="9" formatCode="0.0">
                  <c:v>6.6</c:v>
                </c:pt>
                <c:pt idx="10" formatCode="0.0">
                  <c:v>5.2</c:v>
                </c:pt>
                <c:pt idx="11" formatCode="0.0">
                  <c:v>5.0999999999999996</c:v>
                </c:pt>
                <c:pt idx="12" formatCode="0.0">
                  <c:v>4.5999999999999996</c:v>
                </c:pt>
                <c:pt idx="13" formatCode="0.0">
                  <c:v>3.9</c:v>
                </c:pt>
                <c:pt idx="14" formatCode="0.0">
                  <c:v>3.5</c:v>
                </c:pt>
                <c:pt idx="15" formatCode="0.0">
                  <c:v>6.1</c:v>
                </c:pt>
              </c:numCache>
            </c:numRef>
          </c:yVal>
          <c:smooth val="0"/>
          <c:extLst>
            <c:ext xmlns:c16="http://schemas.microsoft.com/office/drawing/2014/chart" uri="{C3380CC4-5D6E-409C-BE32-E72D297353CC}">
              <c16:uniqueId val="{00000010-008D-4287-81FE-7194BCF71C1D}"/>
            </c:ext>
          </c:extLst>
        </c:ser>
        <c:dLbls>
          <c:dLblPos val="t"/>
          <c:showLegendKey val="0"/>
          <c:showVal val="1"/>
          <c:showCatName val="0"/>
          <c:showSerName val="0"/>
          <c:showPercent val="0"/>
          <c:showBubbleSize val="0"/>
        </c:dLbls>
        <c:axId val="981187695"/>
        <c:axId val="981176463"/>
      </c:scatterChart>
      <c:valAx>
        <c:axId val="981187695"/>
        <c:scaling>
          <c:orientation val="minMax"/>
          <c:max val="10"/>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sz="1200"/>
                  <a:t>Emergence</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1176463"/>
        <c:crosses val="autoZero"/>
        <c:crossBetween val="midCat"/>
        <c:majorUnit val="0.5"/>
      </c:valAx>
      <c:valAx>
        <c:axId val="981176463"/>
        <c:scaling>
          <c:orientation val="minMax"/>
          <c:max val="1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sz="1200"/>
                  <a:t>Impact</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81187695"/>
        <c:crosses val="autoZero"/>
        <c:crossBetween val="midCat"/>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7C8472-8F2F-4510-9A23-4C311A6460EB}" type="doc">
      <dgm:prSet loTypeId="urn:microsoft.com/office/officeart/2005/8/layout/chevron2" loCatId="list" qsTypeId="urn:microsoft.com/office/officeart/2005/8/quickstyle/simple1" qsCatId="simple" csTypeId="urn:microsoft.com/office/officeart/2005/8/colors/accent0_3" csCatId="mainScheme" phldr="1"/>
      <dgm:spPr/>
      <dgm:t>
        <a:bodyPr/>
        <a:lstStyle/>
        <a:p>
          <a:endParaRPr lang="en-US"/>
        </a:p>
      </dgm:t>
    </dgm:pt>
    <dgm:pt modelId="{05D68466-B35A-466B-9960-95F656D3DD3D}">
      <dgm:prSet phldrT="[Text]" custT="1"/>
      <dgm:spPr/>
      <dgm:t>
        <a:bodyPr/>
        <a:lstStyle/>
        <a:p>
          <a:r>
            <a:rPr lang="en-US" sz="1400" b="1"/>
            <a:t>Animal influenza</a:t>
          </a:r>
        </a:p>
      </dgm:t>
    </dgm:pt>
    <dgm:pt modelId="{CCFF77C6-CB67-416D-97C4-AE6611AA3F53}" type="parTrans" cxnId="{BB4800E0-6C5C-49CD-BFDC-97F6E2B83705}">
      <dgm:prSet/>
      <dgm:spPr/>
      <dgm:t>
        <a:bodyPr/>
        <a:lstStyle/>
        <a:p>
          <a:endParaRPr lang="en-US"/>
        </a:p>
      </dgm:t>
    </dgm:pt>
    <dgm:pt modelId="{370E3155-7C68-49FB-9FD9-364A038AC571}" type="sibTrans" cxnId="{BB4800E0-6C5C-49CD-BFDC-97F6E2B83705}">
      <dgm:prSet/>
      <dgm:spPr/>
      <dgm:t>
        <a:bodyPr/>
        <a:lstStyle/>
        <a:p>
          <a:endParaRPr lang="en-US"/>
        </a:p>
      </dgm:t>
    </dgm:pt>
    <dgm:pt modelId="{8A6ED162-286B-43A1-8C81-8E4510238AC1}">
      <dgm:prSet phldrT="[Text]"/>
      <dgm:spPr/>
      <dgm:t>
        <a:bodyPr/>
        <a:lstStyle/>
        <a:p>
          <a:r>
            <a:rPr lang="en-US"/>
            <a:t>Influenza viruses that </a:t>
          </a:r>
          <a:r>
            <a:rPr lang="en-US" b="1"/>
            <a:t>circulate in animals</a:t>
          </a:r>
          <a:r>
            <a:rPr lang="en-US"/>
            <a:t>; includes avian and swine influenza viruses; H5 and H7 avian influenza viruses can be high or low pathogenicity in birds</a:t>
          </a:r>
        </a:p>
      </dgm:t>
    </dgm:pt>
    <dgm:pt modelId="{489FF3D9-B21B-473D-8434-4111F56BF615}" type="parTrans" cxnId="{D59F6875-C216-4BE0-877D-E7524AD6AEC7}">
      <dgm:prSet/>
      <dgm:spPr/>
      <dgm:t>
        <a:bodyPr/>
        <a:lstStyle/>
        <a:p>
          <a:endParaRPr lang="en-US"/>
        </a:p>
      </dgm:t>
    </dgm:pt>
    <dgm:pt modelId="{4BD06671-3A02-4F3F-BBF7-9E892C80F248}" type="sibTrans" cxnId="{D59F6875-C216-4BE0-877D-E7524AD6AEC7}">
      <dgm:prSet/>
      <dgm:spPr/>
      <dgm:t>
        <a:bodyPr/>
        <a:lstStyle/>
        <a:p>
          <a:endParaRPr lang="en-US"/>
        </a:p>
      </dgm:t>
    </dgm:pt>
    <dgm:pt modelId="{9AA07B80-20A1-4B76-B9FF-52850EA82694}">
      <dgm:prSet phldrT="[Text]" custT="1"/>
      <dgm:spPr/>
      <dgm:t>
        <a:bodyPr/>
        <a:lstStyle/>
        <a:p>
          <a:r>
            <a:rPr lang="en-US" sz="1400" b="1"/>
            <a:t>Zoonotic influenza</a:t>
          </a:r>
        </a:p>
      </dgm:t>
    </dgm:pt>
    <dgm:pt modelId="{0B42A86C-4B2C-459F-9D00-A1CAEC31EEED}" type="parTrans" cxnId="{DBA6A662-EBDE-4F04-8643-C8473B25C8F2}">
      <dgm:prSet/>
      <dgm:spPr/>
      <dgm:t>
        <a:bodyPr/>
        <a:lstStyle/>
        <a:p>
          <a:endParaRPr lang="en-US"/>
        </a:p>
      </dgm:t>
    </dgm:pt>
    <dgm:pt modelId="{ABA2E612-3D17-49A2-B013-2C0F0F175C16}" type="sibTrans" cxnId="{DBA6A662-EBDE-4F04-8643-C8473B25C8F2}">
      <dgm:prSet/>
      <dgm:spPr/>
      <dgm:t>
        <a:bodyPr/>
        <a:lstStyle/>
        <a:p>
          <a:endParaRPr lang="en-US"/>
        </a:p>
      </dgm:t>
    </dgm:pt>
    <dgm:pt modelId="{38A32D50-E9F6-4DC6-A4E1-C1FF95ABC435}">
      <dgm:prSet phldrT="[Text]"/>
      <dgm:spPr/>
      <dgm:t>
        <a:bodyPr/>
        <a:lstStyle/>
        <a:p>
          <a:r>
            <a:rPr lang="en-US"/>
            <a:t>An animal influenza virus that </a:t>
          </a:r>
          <a:r>
            <a:rPr lang="en-US" b="1"/>
            <a:t>crosses species to humans</a:t>
          </a:r>
          <a:endParaRPr lang="en-US"/>
        </a:p>
      </dgm:t>
    </dgm:pt>
    <dgm:pt modelId="{BBEA14F2-F86F-4461-B7B8-4629185B878B}" type="parTrans" cxnId="{3BE80507-98D4-4B98-87F1-CD65885E1CB2}">
      <dgm:prSet/>
      <dgm:spPr/>
      <dgm:t>
        <a:bodyPr/>
        <a:lstStyle/>
        <a:p>
          <a:endParaRPr lang="en-US"/>
        </a:p>
      </dgm:t>
    </dgm:pt>
    <dgm:pt modelId="{EAE92C9E-82CA-419B-8E71-CEBB77DAE2DE}" type="sibTrans" cxnId="{3BE80507-98D4-4B98-87F1-CD65885E1CB2}">
      <dgm:prSet/>
      <dgm:spPr/>
      <dgm:t>
        <a:bodyPr/>
        <a:lstStyle/>
        <a:p>
          <a:endParaRPr lang="en-US"/>
        </a:p>
      </dgm:t>
    </dgm:pt>
    <dgm:pt modelId="{E2B58EFE-F865-4D53-AE5C-0795C82B997A}">
      <dgm:prSet phldrT="[Text]" custT="1"/>
      <dgm:spPr/>
      <dgm:t>
        <a:bodyPr/>
        <a:lstStyle/>
        <a:p>
          <a:r>
            <a:rPr lang="en-US" sz="1400" b="1"/>
            <a:t>Pandemic influenza </a:t>
          </a:r>
        </a:p>
      </dgm:t>
    </dgm:pt>
    <dgm:pt modelId="{E9BE598D-DA38-4753-906E-5DA64DF9FB2C}" type="parTrans" cxnId="{FCB02360-54E2-432B-893B-5350C063DA05}">
      <dgm:prSet/>
      <dgm:spPr/>
      <dgm:t>
        <a:bodyPr/>
        <a:lstStyle/>
        <a:p>
          <a:endParaRPr lang="en-US"/>
        </a:p>
      </dgm:t>
    </dgm:pt>
    <dgm:pt modelId="{79EC6D05-AF58-4789-B4A1-668130A15205}" type="sibTrans" cxnId="{FCB02360-54E2-432B-893B-5350C063DA05}">
      <dgm:prSet/>
      <dgm:spPr/>
      <dgm:t>
        <a:bodyPr/>
        <a:lstStyle/>
        <a:p>
          <a:endParaRPr lang="en-US"/>
        </a:p>
      </dgm:t>
    </dgm:pt>
    <dgm:pt modelId="{9BE4138A-1638-4E9A-9E04-352C18F0BD34}">
      <dgm:prSet phldrT="[Text]"/>
      <dgm:spPr/>
      <dgm:t>
        <a:bodyPr/>
        <a:lstStyle/>
        <a:p>
          <a:r>
            <a:rPr lang="en-US"/>
            <a:t>An animal influenza virus that begins to </a:t>
          </a:r>
          <a:r>
            <a:rPr lang="en-US" b="1"/>
            <a:t>spread among humans</a:t>
          </a:r>
          <a:r>
            <a:rPr lang="en-US"/>
            <a:t>, who have no or little natural immunity</a:t>
          </a:r>
        </a:p>
      </dgm:t>
    </dgm:pt>
    <dgm:pt modelId="{A4756D36-78AB-427F-BC2E-D2B673977764}" type="parTrans" cxnId="{CE707658-CA0A-469E-BB2F-790AAE8F7480}">
      <dgm:prSet/>
      <dgm:spPr/>
      <dgm:t>
        <a:bodyPr/>
        <a:lstStyle/>
        <a:p>
          <a:endParaRPr lang="en-US"/>
        </a:p>
      </dgm:t>
    </dgm:pt>
    <dgm:pt modelId="{D18FAC09-2CC8-42BC-BABE-FFAE531203E3}" type="sibTrans" cxnId="{CE707658-CA0A-469E-BB2F-790AAE8F7480}">
      <dgm:prSet/>
      <dgm:spPr/>
      <dgm:t>
        <a:bodyPr/>
        <a:lstStyle/>
        <a:p>
          <a:endParaRPr lang="en-US"/>
        </a:p>
      </dgm:t>
    </dgm:pt>
    <dgm:pt modelId="{18AF4DC3-F680-48CB-AA94-ABA2A9C25A6F}">
      <dgm:prSet custT="1"/>
      <dgm:spPr/>
      <dgm:t>
        <a:bodyPr/>
        <a:lstStyle/>
        <a:p>
          <a:r>
            <a:rPr lang="en-US" sz="1400" b="1"/>
            <a:t>Seasonal influenza</a:t>
          </a:r>
        </a:p>
      </dgm:t>
    </dgm:pt>
    <dgm:pt modelId="{7EF87504-5E42-4039-B297-C8827398117A}" type="parTrans" cxnId="{E1A3F968-6DD6-4373-9EB1-4EA8C94B3363}">
      <dgm:prSet/>
      <dgm:spPr/>
      <dgm:t>
        <a:bodyPr/>
        <a:lstStyle/>
        <a:p>
          <a:endParaRPr lang="en-US"/>
        </a:p>
      </dgm:t>
    </dgm:pt>
    <dgm:pt modelId="{BE167CEB-2EBF-4431-A097-1856593BC39E}" type="sibTrans" cxnId="{E1A3F968-6DD6-4373-9EB1-4EA8C94B3363}">
      <dgm:prSet/>
      <dgm:spPr/>
      <dgm:t>
        <a:bodyPr/>
        <a:lstStyle/>
        <a:p>
          <a:endParaRPr lang="en-US"/>
        </a:p>
      </dgm:t>
    </dgm:pt>
    <dgm:pt modelId="{283890D1-E63E-4A30-BBE5-211638BCDFCE}">
      <dgm:prSet/>
      <dgm:spPr/>
      <dgm:t>
        <a:bodyPr/>
        <a:lstStyle/>
        <a:p>
          <a:r>
            <a:rPr lang="en-US" dirty="0"/>
            <a:t>An influenza virus that has </a:t>
          </a:r>
          <a:r>
            <a:rPr lang="en-US" b="1" dirty="0"/>
            <a:t>adapted to humans</a:t>
          </a:r>
          <a:r>
            <a:rPr lang="en-US" dirty="0"/>
            <a:t>, causing seasonal epidemics</a:t>
          </a:r>
        </a:p>
      </dgm:t>
    </dgm:pt>
    <dgm:pt modelId="{1522698A-F47A-47EA-B9F4-47A80F30783E}" type="parTrans" cxnId="{42796146-CABE-4D73-8F5C-631AAC1807F0}">
      <dgm:prSet/>
      <dgm:spPr/>
      <dgm:t>
        <a:bodyPr/>
        <a:lstStyle/>
        <a:p>
          <a:endParaRPr lang="en-US"/>
        </a:p>
      </dgm:t>
    </dgm:pt>
    <dgm:pt modelId="{30F80C5F-D73E-4F02-B922-73FCD4084D0A}" type="sibTrans" cxnId="{42796146-CABE-4D73-8F5C-631AAC1807F0}">
      <dgm:prSet/>
      <dgm:spPr/>
      <dgm:t>
        <a:bodyPr/>
        <a:lstStyle/>
        <a:p>
          <a:endParaRPr lang="en-US"/>
        </a:p>
      </dgm:t>
    </dgm:pt>
    <dgm:pt modelId="{CDF88B44-B8E8-4C9A-B398-A46E01A9853C}" type="pres">
      <dgm:prSet presAssocID="{A77C8472-8F2F-4510-9A23-4C311A6460EB}" presName="linearFlow" presStyleCnt="0">
        <dgm:presLayoutVars>
          <dgm:dir/>
          <dgm:animLvl val="lvl"/>
          <dgm:resizeHandles val="exact"/>
        </dgm:presLayoutVars>
      </dgm:prSet>
      <dgm:spPr/>
    </dgm:pt>
    <dgm:pt modelId="{B077BB1E-4AD7-46D6-926E-ECC7608A3E3D}" type="pres">
      <dgm:prSet presAssocID="{05D68466-B35A-466B-9960-95F656D3DD3D}" presName="composite" presStyleCnt="0"/>
      <dgm:spPr/>
    </dgm:pt>
    <dgm:pt modelId="{8F2A9FB5-65FA-49A4-94E1-39B589FF8FA7}" type="pres">
      <dgm:prSet presAssocID="{05D68466-B35A-466B-9960-95F656D3DD3D}" presName="parentText" presStyleLbl="alignNode1" presStyleIdx="0" presStyleCnt="4">
        <dgm:presLayoutVars>
          <dgm:chMax val="1"/>
          <dgm:bulletEnabled val="1"/>
        </dgm:presLayoutVars>
      </dgm:prSet>
      <dgm:spPr/>
    </dgm:pt>
    <dgm:pt modelId="{D0A99C6D-1C85-4E66-ADBD-24EFFD764869}" type="pres">
      <dgm:prSet presAssocID="{05D68466-B35A-466B-9960-95F656D3DD3D}" presName="descendantText" presStyleLbl="alignAcc1" presStyleIdx="0" presStyleCnt="4">
        <dgm:presLayoutVars>
          <dgm:bulletEnabled val="1"/>
        </dgm:presLayoutVars>
      </dgm:prSet>
      <dgm:spPr/>
    </dgm:pt>
    <dgm:pt modelId="{695305CA-BB10-4BAC-97D2-82047FB9FDEB}" type="pres">
      <dgm:prSet presAssocID="{370E3155-7C68-49FB-9FD9-364A038AC571}" presName="sp" presStyleCnt="0"/>
      <dgm:spPr/>
    </dgm:pt>
    <dgm:pt modelId="{DCE047B1-23F7-4841-A598-70B582C6D0C1}" type="pres">
      <dgm:prSet presAssocID="{9AA07B80-20A1-4B76-B9FF-52850EA82694}" presName="composite" presStyleCnt="0"/>
      <dgm:spPr/>
    </dgm:pt>
    <dgm:pt modelId="{E02B76F6-0BC3-47CC-A9FF-C66FD721AE23}" type="pres">
      <dgm:prSet presAssocID="{9AA07B80-20A1-4B76-B9FF-52850EA82694}" presName="parentText" presStyleLbl="alignNode1" presStyleIdx="1" presStyleCnt="4">
        <dgm:presLayoutVars>
          <dgm:chMax val="1"/>
          <dgm:bulletEnabled val="1"/>
        </dgm:presLayoutVars>
      </dgm:prSet>
      <dgm:spPr/>
    </dgm:pt>
    <dgm:pt modelId="{88BC756E-3672-4FC4-ADC6-9AC3DD642B3F}" type="pres">
      <dgm:prSet presAssocID="{9AA07B80-20A1-4B76-B9FF-52850EA82694}" presName="descendantText" presStyleLbl="alignAcc1" presStyleIdx="1" presStyleCnt="4">
        <dgm:presLayoutVars>
          <dgm:bulletEnabled val="1"/>
        </dgm:presLayoutVars>
      </dgm:prSet>
      <dgm:spPr/>
    </dgm:pt>
    <dgm:pt modelId="{CF0C84DF-134B-464E-B638-D3E45CD27366}" type="pres">
      <dgm:prSet presAssocID="{ABA2E612-3D17-49A2-B013-2C0F0F175C16}" presName="sp" presStyleCnt="0"/>
      <dgm:spPr/>
    </dgm:pt>
    <dgm:pt modelId="{D563AEED-8052-421C-A188-AD7D6D509546}" type="pres">
      <dgm:prSet presAssocID="{E2B58EFE-F865-4D53-AE5C-0795C82B997A}" presName="composite" presStyleCnt="0"/>
      <dgm:spPr/>
    </dgm:pt>
    <dgm:pt modelId="{B562E010-77E4-4343-B6C3-69346A5C6067}" type="pres">
      <dgm:prSet presAssocID="{E2B58EFE-F865-4D53-AE5C-0795C82B997A}" presName="parentText" presStyleLbl="alignNode1" presStyleIdx="2" presStyleCnt="4">
        <dgm:presLayoutVars>
          <dgm:chMax val="1"/>
          <dgm:bulletEnabled val="1"/>
        </dgm:presLayoutVars>
      </dgm:prSet>
      <dgm:spPr/>
    </dgm:pt>
    <dgm:pt modelId="{567F94C2-AB9F-4543-AC11-CD1CD0E9B263}" type="pres">
      <dgm:prSet presAssocID="{E2B58EFE-F865-4D53-AE5C-0795C82B997A}" presName="descendantText" presStyleLbl="alignAcc1" presStyleIdx="2" presStyleCnt="4">
        <dgm:presLayoutVars>
          <dgm:bulletEnabled val="1"/>
        </dgm:presLayoutVars>
      </dgm:prSet>
      <dgm:spPr/>
    </dgm:pt>
    <dgm:pt modelId="{C6CE88F3-3D07-4B7D-8CB8-71507ED82A3D}" type="pres">
      <dgm:prSet presAssocID="{79EC6D05-AF58-4789-B4A1-668130A15205}" presName="sp" presStyleCnt="0"/>
      <dgm:spPr/>
    </dgm:pt>
    <dgm:pt modelId="{345B6C98-1191-4459-B0B2-3028F2F164D8}" type="pres">
      <dgm:prSet presAssocID="{18AF4DC3-F680-48CB-AA94-ABA2A9C25A6F}" presName="composite" presStyleCnt="0"/>
      <dgm:spPr/>
    </dgm:pt>
    <dgm:pt modelId="{9894BD0E-2C9A-4E9E-AD5D-8F8110A0EFB7}" type="pres">
      <dgm:prSet presAssocID="{18AF4DC3-F680-48CB-AA94-ABA2A9C25A6F}" presName="parentText" presStyleLbl="alignNode1" presStyleIdx="3" presStyleCnt="4">
        <dgm:presLayoutVars>
          <dgm:chMax val="1"/>
          <dgm:bulletEnabled val="1"/>
        </dgm:presLayoutVars>
      </dgm:prSet>
      <dgm:spPr/>
    </dgm:pt>
    <dgm:pt modelId="{5321186C-E38B-49C1-B8DF-21B857D672B6}" type="pres">
      <dgm:prSet presAssocID="{18AF4DC3-F680-48CB-AA94-ABA2A9C25A6F}" presName="descendantText" presStyleLbl="alignAcc1" presStyleIdx="3" presStyleCnt="4" custLinFactNeighborY="0">
        <dgm:presLayoutVars>
          <dgm:bulletEnabled val="1"/>
        </dgm:presLayoutVars>
      </dgm:prSet>
      <dgm:spPr/>
    </dgm:pt>
  </dgm:ptLst>
  <dgm:cxnLst>
    <dgm:cxn modelId="{4D1A2904-1064-403B-B127-A88805C0AD76}" type="presOf" srcId="{E2B58EFE-F865-4D53-AE5C-0795C82B997A}" destId="{B562E010-77E4-4343-B6C3-69346A5C6067}" srcOrd="0" destOrd="0" presId="urn:microsoft.com/office/officeart/2005/8/layout/chevron2"/>
    <dgm:cxn modelId="{3BE80507-98D4-4B98-87F1-CD65885E1CB2}" srcId="{9AA07B80-20A1-4B76-B9FF-52850EA82694}" destId="{38A32D50-E9F6-4DC6-A4E1-C1FF95ABC435}" srcOrd="0" destOrd="0" parTransId="{BBEA14F2-F86F-4461-B7B8-4629185B878B}" sibTransId="{EAE92C9E-82CA-419B-8E71-CEBB77DAE2DE}"/>
    <dgm:cxn modelId="{0FF6A520-3227-45F0-9F00-A1424DFCF603}" type="presOf" srcId="{283890D1-E63E-4A30-BBE5-211638BCDFCE}" destId="{5321186C-E38B-49C1-B8DF-21B857D672B6}" srcOrd="0" destOrd="0" presId="urn:microsoft.com/office/officeart/2005/8/layout/chevron2"/>
    <dgm:cxn modelId="{FCB02360-54E2-432B-893B-5350C063DA05}" srcId="{A77C8472-8F2F-4510-9A23-4C311A6460EB}" destId="{E2B58EFE-F865-4D53-AE5C-0795C82B997A}" srcOrd="2" destOrd="0" parTransId="{E9BE598D-DA38-4753-906E-5DA64DF9FB2C}" sibTransId="{79EC6D05-AF58-4789-B4A1-668130A15205}"/>
    <dgm:cxn modelId="{DBA6A662-EBDE-4F04-8643-C8473B25C8F2}" srcId="{A77C8472-8F2F-4510-9A23-4C311A6460EB}" destId="{9AA07B80-20A1-4B76-B9FF-52850EA82694}" srcOrd="1" destOrd="0" parTransId="{0B42A86C-4B2C-459F-9D00-A1CAEC31EEED}" sibTransId="{ABA2E612-3D17-49A2-B013-2C0F0F175C16}"/>
    <dgm:cxn modelId="{42796146-CABE-4D73-8F5C-631AAC1807F0}" srcId="{18AF4DC3-F680-48CB-AA94-ABA2A9C25A6F}" destId="{283890D1-E63E-4A30-BBE5-211638BCDFCE}" srcOrd="0" destOrd="0" parTransId="{1522698A-F47A-47EA-B9F4-47A80F30783E}" sibTransId="{30F80C5F-D73E-4F02-B922-73FCD4084D0A}"/>
    <dgm:cxn modelId="{E1A3F968-6DD6-4373-9EB1-4EA8C94B3363}" srcId="{A77C8472-8F2F-4510-9A23-4C311A6460EB}" destId="{18AF4DC3-F680-48CB-AA94-ABA2A9C25A6F}" srcOrd="3" destOrd="0" parTransId="{7EF87504-5E42-4039-B297-C8827398117A}" sibTransId="{BE167CEB-2EBF-4431-A097-1856593BC39E}"/>
    <dgm:cxn modelId="{6A0CB64F-0A9E-483A-B438-DC2824AD4650}" type="presOf" srcId="{8A6ED162-286B-43A1-8C81-8E4510238AC1}" destId="{D0A99C6D-1C85-4E66-ADBD-24EFFD764869}" srcOrd="0" destOrd="0" presId="urn:microsoft.com/office/officeart/2005/8/layout/chevron2"/>
    <dgm:cxn modelId="{E9FAB74F-BE2C-43DB-AB5E-17AF6BAADD88}" type="presOf" srcId="{18AF4DC3-F680-48CB-AA94-ABA2A9C25A6F}" destId="{9894BD0E-2C9A-4E9E-AD5D-8F8110A0EFB7}" srcOrd="0" destOrd="0" presId="urn:microsoft.com/office/officeart/2005/8/layout/chevron2"/>
    <dgm:cxn modelId="{D59F6875-C216-4BE0-877D-E7524AD6AEC7}" srcId="{05D68466-B35A-466B-9960-95F656D3DD3D}" destId="{8A6ED162-286B-43A1-8C81-8E4510238AC1}" srcOrd="0" destOrd="0" parTransId="{489FF3D9-B21B-473D-8434-4111F56BF615}" sibTransId="{4BD06671-3A02-4F3F-BBF7-9E892C80F248}"/>
    <dgm:cxn modelId="{CE707658-CA0A-469E-BB2F-790AAE8F7480}" srcId="{E2B58EFE-F865-4D53-AE5C-0795C82B997A}" destId="{9BE4138A-1638-4E9A-9E04-352C18F0BD34}" srcOrd="0" destOrd="0" parTransId="{A4756D36-78AB-427F-BC2E-D2B673977764}" sibTransId="{D18FAC09-2CC8-42BC-BABE-FFAE531203E3}"/>
    <dgm:cxn modelId="{E84C028C-83B5-421A-9AB8-333F8A5CB6F0}" type="presOf" srcId="{05D68466-B35A-466B-9960-95F656D3DD3D}" destId="{8F2A9FB5-65FA-49A4-94E1-39B589FF8FA7}" srcOrd="0" destOrd="0" presId="urn:microsoft.com/office/officeart/2005/8/layout/chevron2"/>
    <dgm:cxn modelId="{71D811C1-B347-4482-B9AF-F7367DA949E6}" type="presOf" srcId="{9AA07B80-20A1-4B76-B9FF-52850EA82694}" destId="{E02B76F6-0BC3-47CC-A9FF-C66FD721AE23}" srcOrd="0" destOrd="0" presId="urn:microsoft.com/office/officeart/2005/8/layout/chevron2"/>
    <dgm:cxn modelId="{B98EC9DF-C551-4BA7-B638-D44C3A40D302}" type="presOf" srcId="{38A32D50-E9F6-4DC6-A4E1-C1FF95ABC435}" destId="{88BC756E-3672-4FC4-ADC6-9AC3DD642B3F}" srcOrd="0" destOrd="0" presId="urn:microsoft.com/office/officeart/2005/8/layout/chevron2"/>
    <dgm:cxn modelId="{BB4800E0-6C5C-49CD-BFDC-97F6E2B83705}" srcId="{A77C8472-8F2F-4510-9A23-4C311A6460EB}" destId="{05D68466-B35A-466B-9960-95F656D3DD3D}" srcOrd="0" destOrd="0" parTransId="{CCFF77C6-CB67-416D-97C4-AE6611AA3F53}" sibTransId="{370E3155-7C68-49FB-9FD9-364A038AC571}"/>
    <dgm:cxn modelId="{2A6D91EE-F85E-4DBE-9923-F1956711F279}" type="presOf" srcId="{9BE4138A-1638-4E9A-9E04-352C18F0BD34}" destId="{567F94C2-AB9F-4543-AC11-CD1CD0E9B263}" srcOrd="0" destOrd="0" presId="urn:microsoft.com/office/officeart/2005/8/layout/chevron2"/>
    <dgm:cxn modelId="{FA354EFE-3E2B-48CC-9BD4-61FC2EDE6BE3}" type="presOf" srcId="{A77C8472-8F2F-4510-9A23-4C311A6460EB}" destId="{CDF88B44-B8E8-4C9A-B398-A46E01A9853C}" srcOrd="0" destOrd="0" presId="urn:microsoft.com/office/officeart/2005/8/layout/chevron2"/>
    <dgm:cxn modelId="{8C7CE2C2-2437-4D80-B6A8-72DF934F04F3}" type="presParOf" srcId="{CDF88B44-B8E8-4C9A-B398-A46E01A9853C}" destId="{B077BB1E-4AD7-46D6-926E-ECC7608A3E3D}" srcOrd="0" destOrd="0" presId="urn:microsoft.com/office/officeart/2005/8/layout/chevron2"/>
    <dgm:cxn modelId="{5592138F-D0A8-4A62-BEBA-21C806FE92BF}" type="presParOf" srcId="{B077BB1E-4AD7-46D6-926E-ECC7608A3E3D}" destId="{8F2A9FB5-65FA-49A4-94E1-39B589FF8FA7}" srcOrd="0" destOrd="0" presId="urn:microsoft.com/office/officeart/2005/8/layout/chevron2"/>
    <dgm:cxn modelId="{70725962-A436-43E2-9A95-740A42D932DB}" type="presParOf" srcId="{B077BB1E-4AD7-46D6-926E-ECC7608A3E3D}" destId="{D0A99C6D-1C85-4E66-ADBD-24EFFD764869}" srcOrd="1" destOrd="0" presId="urn:microsoft.com/office/officeart/2005/8/layout/chevron2"/>
    <dgm:cxn modelId="{F019CFEF-040B-4FC8-A015-4CDBB689ADA6}" type="presParOf" srcId="{CDF88B44-B8E8-4C9A-B398-A46E01A9853C}" destId="{695305CA-BB10-4BAC-97D2-82047FB9FDEB}" srcOrd="1" destOrd="0" presId="urn:microsoft.com/office/officeart/2005/8/layout/chevron2"/>
    <dgm:cxn modelId="{FF270374-A8A2-4F34-A079-73496B62C3A8}" type="presParOf" srcId="{CDF88B44-B8E8-4C9A-B398-A46E01A9853C}" destId="{DCE047B1-23F7-4841-A598-70B582C6D0C1}" srcOrd="2" destOrd="0" presId="urn:microsoft.com/office/officeart/2005/8/layout/chevron2"/>
    <dgm:cxn modelId="{9D4138C4-AAB8-4335-8B73-163AFFB11F36}" type="presParOf" srcId="{DCE047B1-23F7-4841-A598-70B582C6D0C1}" destId="{E02B76F6-0BC3-47CC-A9FF-C66FD721AE23}" srcOrd="0" destOrd="0" presId="urn:microsoft.com/office/officeart/2005/8/layout/chevron2"/>
    <dgm:cxn modelId="{91F9CB31-1E16-4F8C-A1C8-099069300E5D}" type="presParOf" srcId="{DCE047B1-23F7-4841-A598-70B582C6D0C1}" destId="{88BC756E-3672-4FC4-ADC6-9AC3DD642B3F}" srcOrd="1" destOrd="0" presId="urn:microsoft.com/office/officeart/2005/8/layout/chevron2"/>
    <dgm:cxn modelId="{A08CF341-A223-4F90-A675-5026923666F6}" type="presParOf" srcId="{CDF88B44-B8E8-4C9A-B398-A46E01A9853C}" destId="{CF0C84DF-134B-464E-B638-D3E45CD27366}" srcOrd="3" destOrd="0" presId="urn:microsoft.com/office/officeart/2005/8/layout/chevron2"/>
    <dgm:cxn modelId="{D29ACE63-A9A3-4221-BE82-02CEE8252520}" type="presParOf" srcId="{CDF88B44-B8E8-4C9A-B398-A46E01A9853C}" destId="{D563AEED-8052-421C-A188-AD7D6D509546}" srcOrd="4" destOrd="0" presId="urn:microsoft.com/office/officeart/2005/8/layout/chevron2"/>
    <dgm:cxn modelId="{1B0C9D02-8E0C-4F76-B52C-81FBA2350767}" type="presParOf" srcId="{D563AEED-8052-421C-A188-AD7D6D509546}" destId="{B562E010-77E4-4343-B6C3-69346A5C6067}" srcOrd="0" destOrd="0" presId="urn:microsoft.com/office/officeart/2005/8/layout/chevron2"/>
    <dgm:cxn modelId="{2790C0A8-392B-4652-9A48-4D48B3DBFC24}" type="presParOf" srcId="{D563AEED-8052-421C-A188-AD7D6D509546}" destId="{567F94C2-AB9F-4543-AC11-CD1CD0E9B263}" srcOrd="1" destOrd="0" presId="urn:microsoft.com/office/officeart/2005/8/layout/chevron2"/>
    <dgm:cxn modelId="{6AE8A854-1A33-4A65-8BAD-AABA413D4C1E}" type="presParOf" srcId="{CDF88B44-B8E8-4C9A-B398-A46E01A9853C}" destId="{C6CE88F3-3D07-4B7D-8CB8-71507ED82A3D}" srcOrd="5" destOrd="0" presId="urn:microsoft.com/office/officeart/2005/8/layout/chevron2"/>
    <dgm:cxn modelId="{DBE65BA3-9E13-4FAB-9D86-8D8599B37A04}" type="presParOf" srcId="{CDF88B44-B8E8-4C9A-B398-A46E01A9853C}" destId="{345B6C98-1191-4459-B0B2-3028F2F164D8}" srcOrd="6" destOrd="0" presId="urn:microsoft.com/office/officeart/2005/8/layout/chevron2"/>
    <dgm:cxn modelId="{463086D6-C642-418D-9896-F696B24FA5CC}" type="presParOf" srcId="{345B6C98-1191-4459-B0B2-3028F2F164D8}" destId="{9894BD0E-2C9A-4E9E-AD5D-8F8110A0EFB7}" srcOrd="0" destOrd="0" presId="urn:microsoft.com/office/officeart/2005/8/layout/chevron2"/>
    <dgm:cxn modelId="{38092AB7-D164-4AC9-9EB1-6F0FF87EDEE0}" type="presParOf" srcId="{345B6C98-1191-4459-B0B2-3028F2F164D8}" destId="{5321186C-E38B-49C1-B8DF-21B857D672B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2A9FB5-65FA-49A4-94E1-39B589FF8FA7}">
      <dsp:nvSpPr>
        <dsp:cNvPr id="0" name=""/>
        <dsp:cNvSpPr/>
      </dsp:nvSpPr>
      <dsp:spPr>
        <a:xfrm rot="5400000">
          <a:off x="-171623" y="177176"/>
          <a:ext cx="1144157" cy="800910"/>
        </a:xfrm>
        <a:prstGeom prst="chevron">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a:t>Animal influenza</a:t>
          </a:r>
        </a:p>
      </dsp:txBody>
      <dsp:txXfrm rot="-5400000">
        <a:off x="1" y="406007"/>
        <a:ext cx="800910" cy="343247"/>
      </dsp:txXfrm>
    </dsp:sp>
    <dsp:sp modelId="{D0A99C6D-1C85-4E66-ADBD-24EFFD764869}">
      <dsp:nvSpPr>
        <dsp:cNvPr id="0" name=""/>
        <dsp:cNvSpPr/>
      </dsp:nvSpPr>
      <dsp:spPr>
        <a:xfrm rot="5400000">
          <a:off x="4223416" y="-3416952"/>
          <a:ext cx="744093" cy="7589105"/>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Influenza viruses that </a:t>
          </a:r>
          <a:r>
            <a:rPr lang="en-US" sz="1700" b="1" kern="1200"/>
            <a:t>circulate in animals</a:t>
          </a:r>
          <a:r>
            <a:rPr lang="en-US" sz="1700" kern="1200"/>
            <a:t>; includes avian and swine influenza viruses; H5 and H7 avian influenza viruses can be high or low pathogenicity in birds</a:t>
          </a:r>
        </a:p>
      </dsp:txBody>
      <dsp:txXfrm rot="-5400000">
        <a:off x="800910" y="41878"/>
        <a:ext cx="7552781" cy="671445"/>
      </dsp:txXfrm>
    </dsp:sp>
    <dsp:sp modelId="{E02B76F6-0BC3-47CC-A9FF-C66FD721AE23}">
      <dsp:nvSpPr>
        <dsp:cNvPr id="0" name=""/>
        <dsp:cNvSpPr/>
      </dsp:nvSpPr>
      <dsp:spPr>
        <a:xfrm rot="5400000">
          <a:off x="-171623" y="1173435"/>
          <a:ext cx="1144157" cy="800910"/>
        </a:xfrm>
        <a:prstGeom prst="chevron">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a:t>Zoonotic influenza</a:t>
          </a:r>
        </a:p>
      </dsp:txBody>
      <dsp:txXfrm rot="-5400000">
        <a:off x="1" y="1402266"/>
        <a:ext cx="800910" cy="343247"/>
      </dsp:txXfrm>
    </dsp:sp>
    <dsp:sp modelId="{88BC756E-3672-4FC4-ADC6-9AC3DD642B3F}">
      <dsp:nvSpPr>
        <dsp:cNvPr id="0" name=""/>
        <dsp:cNvSpPr/>
      </dsp:nvSpPr>
      <dsp:spPr>
        <a:xfrm rot="5400000">
          <a:off x="4223611" y="-2420889"/>
          <a:ext cx="743702" cy="7589105"/>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An animal influenza virus that </a:t>
          </a:r>
          <a:r>
            <a:rPr lang="en-US" sz="1700" b="1" kern="1200"/>
            <a:t>crosses species to humans</a:t>
          </a:r>
          <a:endParaRPr lang="en-US" sz="1700" kern="1200"/>
        </a:p>
      </dsp:txBody>
      <dsp:txXfrm rot="-5400000">
        <a:off x="800910" y="1038117"/>
        <a:ext cx="7552800" cy="671092"/>
      </dsp:txXfrm>
    </dsp:sp>
    <dsp:sp modelId="{B562E010-77E4-4343-B6C3-69346A5C6067}">
      <dsp:nvSpPr>
        <dsp:cNvPr id="0" name=""/>
        <dsp:cNvSpPr/>
      </dsp:nvSpPr>
      <dsp:spPr>
        <a:xfrm rot="5400000">
          <a:off x="-171623" y="2169693"/>
          <a:ext cx="1144157" cy="800910"/>
        </a:xfrm>
        <a:prstGeom prst="chevron">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a:t>Pandemic influenza </a:t>
          </a:r>
        </a:p>
      </dsp:txBody>
      <dsp:txXfrm rot="-5400000">
        <a:off x="1" y="2398524"/>
        <a:ext cx="800910" cy="343247"/>
      </dsp:txXfrm>
    </dsp:sp>
    <dsp:sp modelId="{567F94C2-AB9F-4543-AC11-CD1CD0E9B263}">
      <dsp:nvSpPr>
        <dsp:cNvPr id="0" name=""/>
        <dsp:cNvSpPr/>
      </dsp:nvSpPr>
      <dsp:spPr>
        <a:xfrm rot="5400000">
          <a:off x="4223611" y="-1424631"/>
          <a:ext cx="743702" cy="7589105"/>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a:t>An animal influenza virus that begins to </a:t>
          </a:r>
          <a:r>
            <a:rPr lang="en-US" sz="1700" b="1" kern="1200"/>
            <a:t>spread among humans</a:t>
          </a:r>
          <a:r>
            <a:rPr lang="en-US" sz="1700" kern="1200"/>
            <a:t>, who have no or little natural immunity</a:t>
          </a:r>
        </a:p>
      </dsp:txBody>
      <dsp:txXfrm rot="-5400000">
        <a:off x="800910" y="2034375"/>
        <a:ext cx="7552800" cy="671092"/>
      </dsp:txXfrm>
    </dsp:sp>
    <dsp:sp modelId="{9894BD0E-2C9A-4E9E-AD5D-8F8110A0EFB7}">
      <dsp:nvSpPr>
        <dsp:cNvPr id="0" name=""/>
        <dsp:cNvSpPr/>
      </dsp:nvSpPr>
      <dsp:spPr>
        <a:xfrm rot="5400000">
          <a:off x="-171623" y="3165951"/>
          <a:ext cx="1144157" cy="800910"/>
        </a:xfrm>
        <a:prstGeom prst="chevron">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a:t>Seasonal influenza</a:t>
          </a:r>
        </a:p>
      </dsp:txBody>
      <dsp:txXfrm rot="-5400000">
        <a:off x="1" y="3394782"/>
        <a:ext cx="800910" cy="343247"/>
      </dsp:txXfrm>
    </dsp:sp>
    <dsp:sp modelId="{5321186C-E38B-49C1-B8DF-21B857D672B6}">
      <dsp:nvSpPr>
        <dsp:cNvPr id="0" name=""/>
        <dsp:cNvSpPr/>
      </dsp:nvSpPr>
      <dsp:spPr>
        <a:xfrm rot="5400000">
          <a:off x="4223611" y="-428373"/>
          <a:ext cx="743702" cy="7589105"/>
        </a:xfrm>
        <a:prstGeom prst="round2Same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An influenza virus that has </a:t>
          </a:r>
          <a:r>
            <a:rPr lang="en-US" sz="1700" b="1" kern="1200" dirty="0"/>
            <a:t>adapted to humans</a:t>
          </a:r>
          <a:r>
            <a:rPr lang="en-US" sz="1700" kern="1200" dirty="0"/>
            <a:t>, causing seasonal epidemics</a:t>
          </a:r>
        </a:p>
      </dsp:txBody>
      <dsp:txXfrm rot="-5400000">
        <a:off x="800910" y="3030633"/>
        <a:ext cx="7552800" cy="671092"/>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7632</cdr:x>
      <cdr:y>0.40475</cdr:y>
    </cdr:from>
    <cdr:to>
      <cdr:x>0.47632</cdr:x>
      <cdr:y>0.57345</cdr:y>
    </cdr:to>
    <cdr:cxnSp macro="">
      <cdr:nvCxnSpPr>
        <cdr:cNvPr id="12" name="Straight Connector 11">
          <a:extLst xmlns:a="http://schemas.openxmlformats.org/drawingml/2006/main">
            <a:ext uri="{FF2B5EF4-FFF2-40B4-BE49-F238E27FC236}">
              <a16:creationId xmlns:a16="http://schemas.microsoft.com/office/drawing/2014/main" id="{3E2642F6-A31D-5766-F7E4-5AF92FDD1B6C}"/>
            </a:ext>
          </a:extLst>
        </cdr:cNvPr>
        <cdr:cNvCxnSpPr/>
      </cdr:nvCxnSpPr>
      <cdr:spPr>
        <a:xfrm xmlns:a="http://schemas.openxmlformats.org/drawingml/2006/main">
          <a:off x="5114265" y="2391052"/>
          <a:ext cx="0" cy="996636"/>
        </a:xfrm>
        <a:prstGeom xmlns:a="http://schemas.openxmlformats.org/drawingml/2006/main" prst="line">
          <a:avLst/>
        </a:prstGeom>
        <a:ln xmlns:a="http://schemas.openxmlformats.org/drawingml/2006/main" w="1905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3355</cdr:x>
      <cdr:y>0.478</cdr:y>
    </cdr:from>
    <cdr:to>
      <cdr:x>0.51693</cdr:x>
      <cdr:y>0.478</cdr:y>
    </cdr:to>
    <cdr:cxnSp macro="">
      <cdr:nvCxnSpPr>
        <cdr:cNvPr id="13" name="Straight Connector 12">
          <a:extLst xmlns:a="http://schemas.openxmlformats.org/drawingml/2006/main">
            <a:ext uri="{FF2B5EF4-FFF2-40B4-BE49-F238E27FC236}">
              <a16:creationId xmlns:a16="http://schemas.microsoft.com/office/drawing/2014/main" id="{B37969D5-6BE7-DBC3-6E0E-87F3E50A770A}"/>
            </a:ext>
          </a:extLst>
        </cdr:cNvPr>
        <cdr:cNvCxnSpPr/>
      </cdr:nvCxnSpPr>
      <cdr:spPr>
        <a:xfrm xmlns:a="http://schemas.openxmlformats.org/drawingml/2006/main">
          <a:off x="4654972" y="2823794"/>
          <a:ext cx="895250" cy="0"/>
        </a:xfrm>
        <a:prstGeom xmlns:a="http://schemas.openxmlformats.org/drawingml/2006/main" prst="line">
          <a:avLst/>
        </a:prstGeom>
        <a:ln xmlns:a="http://schemas.openxmlformats.org/drawingml/2006/main" w="1905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4247</cdr:x>
      <cdr:y>0.31214</cdr:y>
    </cdr:from>
    <cdr:to>
      <cdr:x>0.54247</cdr:x>
      <cdr:y>0.48085</cdr:y>
    </cdr:to>
    <cdr:cxnSp macro="">
      <cdr:nvCxnSpPr>
        <cdr:cNvPr id="4" name="Straight Connector 3">
          <a:extLst xmlns:a="http://schemas.openxmlformats.org/drawingml/2006/main">
            <a:ext uri="{FF2B5EF4-FFF2-40B4-BE49-F238E27FC236}">
              <a16:creationId xmlns:a16="http://schemas.microsoft.com/office/drawing/2014/main" id="{2F48014A-EDA0-25EA-6258-2603BE5D3088}"/>
            </a:ext>
          </a:extLst>
        </cdr:cNvPr>
        <cdr:cNvCxnSpPr/>
      </cdr:nvCxnSpPr>
      <cdr:spPr>
        <a:xfrm xmlns:a="http://schemas.openxmlformats.org/drawingml/2006/main">
          <a:off x="5824488" y="1843975"/>
          <a:ext cx="0" cy="996636"/>
        </a:xfrm>
        <a:prstGeom xmlns:a="http://schemas.openxmlformats.org/drawingml/2006/main" prst="line">
          <a:avLst/>
        </a:prstGeom>
        <a:ln xmlns:a="http://schemas.openxmlformats.org/drawingml/2006/main" w="1905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9969</cdr:x>
      <cdr:y>0.38539</cdr:y>
    </cdr:from>
    <cdr:to>
      <cdr:x>0.58307</cdr:x>
      <cdr:y>0.38539</cdr:y>
    </cdr:to>
    <cdr:cxnSp macro="">
      <cdr:nvCxnSpPr>
        <cdr:cNvPr id="6" name="Straight Connector 5">
          <a:extLst xmlns:a="http://schemas.openxmlformats.org/drawingml/2006/main">
            <a:ext uri="{FF2B5EF4-FFF2-40B4-BE49-F238E27FC236}">
              <a16:creationId xmlns:a16="http://schemas.microsoft.com/office/drawing/2014/main" id="{3DC62267-05D5-D066-90C7-966448FCB52B}"/>
            </a:ext>
          </a:extLst>
        </cdr:cNvPr>
        <cdr:cNvCxnSpPr/>
      </cdr:nvCxnSpPr>
      <cdr:spPr>
        <a:xfrm xmlns:a="http://schemas.openxmlformats.org/drawingml/2006/main">
          <a:off x="5365195" y="2276717"/>
          <a:ext cx="895250" cy="0"/>
        </a:xfrm>
        <a:prstGeom xmlns:a="http://schemas.openxmlformats.org/drawingml/2006/main" prst="line">
          <a:avLst/>
        </a:prstGeom>
        <a:ln xmlns:a="http://schemas.openxmlformats.org/drawingml/2006/main" w="1905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0288</cdr:x>
      <cdr:y>0.3252</cdr:y>
    </cdr:from>
    <cdr:to>
      <cdr:x>0.60288</cdr:x>
      <cdr:y>0.49391</cdr:y>
    </cdr:to>
    <cdr:cxnSp macro="">
      <cdr:nvCxnSpPr>
        <cdr:cNvPr id="7" name="Straight Connector 6">
          <a:extLst xmlns:a="http://schemas.openxmlformats.org/drawingml/2006/main">
            <a:ext uri="{FF2B5EF4-FFF2-40B4-BE49-F238E27FC236}">
              <a16:creationId xmlns:a16="http://schemas.microsoft.com/office/drawing/2014/main" id="{FF79F03F-7D38-5979-DEFA-C02515E212DC}"/>
            </a:ext>
          </a:extLst>
        </cdr:cNvPr>
        <cdr:cNvCxnSpPr/>
      </cdr:nvCxnSpPr>
      <cdr:spPr>
        <a:xfrm xmlns:a="http://schemas.openxmlformats.org/drawingml/2006/main">
          <a:off x="6473165" y="1921151"/>
          <a:ext cx="0" cy="996636"/>
        </a:xfrm>
        <a:prstGeom xmlns:a="http://schemas.openxmlformats.org/drawingml/2006/main" prst="line">
          <a:avLst/>
        </a:prstGeom>
        <a:ln xmlns:a="http://schemas.openxmlformats.org/drawingml/2006/main" w="1905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011</cdr:x>
      <cdr:y>0.39846</cdr:y>
    </cdr:from>
    <cdr:to>
      <cdr:x>0.64349</cdr:x>
      <cdr:y>0.39846</cdr:y>
    </cdr:to>
    <cdr:cxnSp macro="">
      <cdr:nvCxnSpPr>
        <cdr:cNvPr id="8" name="Straight Connector 7">
          <a:extLst xmlns:a="http://schemas.openxmlformats.org/drawingml/2006/main">
            <a:ext uri="{FF2B5EF4-FFF2-40B4-BE49-F238E27FC236}">
              <a16:creationId xmlns:a16="http://schemas.microsoft.com/office/drawing/2014/main" id="{81DFC9E2-80C3-AA74-1434-C916093878AD}"/>
            </a:ext>
          </a:extLst>
        </cdr:cNvPr>
        <cdr:cNvCxnSpPr/>
      </cdr:nvCxnSpPr>
      <cdr:spPr>
        <a:xfrm xmlns:a="http://schemas.openxmlformats.org/drawingml/2006/main">
          <a:off x="6013872" y="2353893"/>
          <a:ext cx="895250" cy="0"/>
        </a:xfrm>
        <a:prstGeom xmlns:a="http://schemas.openxmlformats.org/drawingml/2006/main" prst="line">
          <a:avLst/>
        </a:prstGeom>
        <a:ln xmlns:a="http://schemas.openxmlformats.org/drawingml/2006/main" w="1905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C05754-E492-46FC-993F-623E982BF0EA}" type="datetimeFigureOut">
              <a:rPr lang="en-US" smtClean="0"/>
              <a:t>8/2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B63D3C-D1F6-4149-85E9-D09915E0C92D}" type="slidenum">
              <a:rPr lang="en-US" smtClean="0"/>
              <a:t>‹#›</a:t>
            </a:fld>
            <a:endParaRPr lang="en-US"/>
          </a:p>
        </p:txBody>
      </p:sp>
    </p:spTree>
    <p:extLst>
      <p:ext uri="{BB962C8B-B14F-4D97-AF65-F5344CB8AC3E}">
        <p14:creationId xmlns:p14="http://schemas.microsoft.com/office/powerpoint/2010/main" val="32212026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0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8A90D8-2647-4560-8208-F58DCE3DB525}" type="slidenum">
              <a:rPr lang="en-US" smtClean="0"/>
              <a:t>1</a:t>
            </a:fld>
            <a:endParaRPr lang="en-US"/>
          </a:p>
        </p:txBody>
      </p:sp>
    </p:spTree>
    <p:extLst>
      <p:ext uri="{BB962C8B-B14F-4D97-AF65-F5344CB8AC3E}">
        <p14:creationId xmlns:p14="http://schemas.microsoft.com/office/powerpoint/2010/main" val="1596547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9F93BD5-0055-6C43-8989-2763A069431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809727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2475" y="1184275"/>
            <a:ext cx="5688013" cy="31988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9F93BD5-0055-6C43-8989-2763A069431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114006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6CF313B3-247E-49B7-8CAB-4D81AFAEDF1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4548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873861-3BBD-3642-AFE3-1AD7374F113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841326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873861-3BBD-3642-AFE3-1AD7374F113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35885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873861-3BBD-3642-AFE3-1AD7374F113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1973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873861-3BBD-3642-AFE3-1AD7374F113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593725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07DFC79-30DA-484F-85C8-36E3971802A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822217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EB17A64-1461-48EA-88E8-FBB6D469B1B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652439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EB17A64-1461-48EA-88E8-FBB6D469B1B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77060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5AF1D5-75F8-E23F-F8D5-08E286B0D7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064F1F-583B-3043-2267-09E616CEEE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48C057-605B-1961-0F41-0081A8539A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00B8F9-FCDF-84B3-9180-50D9E6E3F050}"/>
              </a:ext>
            </a:extLst>
          </p:cNvPr>
          <p:cNvSpPr>
            <a:spLocks noGrp="1"/>
          </p:cNvSpPr>
          <p:nvPr>
            <p:ph type="sldNum" sz="quarter" idx="5"/>
          </p:nvPr>
        </p:nvSpPr>
        <p:spPr/>
        <p:txBody>
          <a:bodyPr/>
          <a:lstStyle/>
          <a:p>
            <a:fld id="{B78A90D8-2647-4560-8208-F58DCE3DB525}" type="slidenum">
              <a:rPr lang="en-US" smtClean="0"/>
              <a:t>2</a:t>
            </a:fld>
            <a:endParaRPr lang="en-US"/>
          </a:p>
        </p:txBody>
      </p:sp>
    </p:spTree>
    <p:extLst>
      <p:ext uri="{BB962C8B-B14F-4D97-AF65-F5344CB8AC3E}">
        <p14:creationId xmlns:p14="http://schemas.microsoft.com/office/powerpoint/2010/main" val="2767983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CF313B3-247E-49B7-8CAB-4D81AFAEDF1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526382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873861-3BBD-3642-AFE3-1AD7374F11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891552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A6481-3AF1-47A1-8F0E-029127C7D5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51379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1200" dirty="0">
              <a:latin typeface="+mn-lt"/>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A6481-3AF1-47A1-8F0E-029127C7D5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80509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buClrTx/>
            </a:pPr>
            <a:endParaRPr lang="en-US" sz="1600" b="0" dirty="0">
              <a:solidFill>
                <a:schemeClr val="tx1"/>
              </a:solidFill>
              <a:latin typeface="Calibri"/>
              <a:ea typeface="Calibri" panose="020F0502020204030204" pitchFamily="34" charset="0"/>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A6481-3AF1-47A1-8F0E-029127C7D5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74124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A6481-3AF1-47A1-8F0E-029127C7D5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405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A6481-3AF1-47A1-8F0E-029127C7D5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2022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87045" lvl="1" indent="-243205"/>
            <a:endParaRPr lang="en-US" sz="1400"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D1ACE3-BEA8-44CB-A4EB-17A726DA47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77383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A6481-3AF1-47A1-8F0E-029127C7D5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09976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85372" lvl="1" indent="-302066">
              <a:lnSpc>
                <a:spcPct val="107000"/>
              </a:lnSpc>
              <a:buFont typeface="Courier New" panose="02070309020205020404" pitchFamily="49" charset="0"/>
              <a:buChar char="o"/>
            </a:pPr>
            <a:endParaRPr lang="en-US" sz="1600" kern="100" dirty="0">
              <a:latin typeface="Calibri" panose="020F0502020204030204" pitchFamily="34" charset="0"/>
              <a:ea typeface="Calibri" panose="020F0502020204030204" pitchFamily="34" charset="0"/>
              <a:cs typeface="Times New Roman" panose="02020603050405020304" pitchFamily="18" charset="0"/>
            </a:endParaRPr>
          </a:p>
          <a:p>
            <a:pPr marL="483306">
              <a:lnSpc>
                <a:spcPct val="107000"/>
              </a:lnSpc>
            </a:pPr>
            <a:r>
              <a:rPr lang="en-US" sz="1600" kern="100" dirty="0">
                <a:latin typeface="Calibri" panose="020F0502020204030204" pitchFamily="34" charset="0"/>
                <a:ea typeface="Calibri" panose="020F0502020204030204" pitchFamily="34" charset="0"/>
                <a:cs typeface="Calibri" panose="020F0502020204030204" pitchFamily="34" charset="0"/>
              </a:rPr>
              <a:t> </a:t>
            </a:r>
            <a:endParaRPr lang="en-US" sz="1600" kern="100" dirty="0">
              <a:latin typeface="Calibri" panose="020F050202020403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A6481-3AF1-47A1-8F0E-029127C7D5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18129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5AF1D5-75F8-E23F-F8D5-08E286B0D7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064F1F-583B-3043-2267-09E616CEEE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48C057-605B-1961-0F41-0081A8539A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00B8F9-FCDF-84B3-9180-50D9E6E3F050}"/>
              </a:ext>
            </a:extLst>
          </p:cNvPr>
          <p:cNvSpPr>
            <a:spLocks noGrp="1"/>
          </p:cNvSpPr>
          <p:nvPr>
            <p:ph type="sldNum" sz="quarter" idx="5"/>
          </p:nvPr>
        </p:nvSpPr>
        <p:spPr/>
        <p:txBody>
          <a:bodyPr/>
          <a:lstStyle/>
          <a:p>
            <a:fld id="{B78A90D8-2647-4560-8208-F58DCE3DB525}" type="slidenum">
              <a:rPr lang="en-US" smtClean="0"/>
              <a:t>4</a:t>
            </a:fld>
            <a:endParaRPr lang="en-US"/>
          </a:p>
        </p:txBody>
      </p:sp>
    </p:spTree>
    <p:extLst>
      <p:ext uri="{BB962C8B-B14F-4D97-AF65-F5344CB8AC3E}">
        <p14:creationId xmlns:p14="http://schemas.microsoft.com/office/powerpoint/2010/main" val="12152621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043AFA-6A92-49A8-A42A-7FA5617FC8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514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Pts val="1000"/>
              <a:buFont typeface="Arial" panose="020B0604020202020204" pitchFamily="34" charset="0"/>
              <a:buNone/>
              <a:tabLst>
                <a:tab pos="699836" algn="l"/>
              </a:tabLst>
              <a:defRPr/>
            </a:pPr>
            <a:endParaRPr lang="en-US" sz="1600" b="0" i="0" dirty="0">
              <a:solidFill>
                <a:srgbClr val="1C1D1F"/>
              </a:solidFill>
              <a:effectLst/>
              <a:latin typeface="+mn-lt"/>
            </a:endParaRPr>
          </a:p>
          <a:p>
            <a:pPr marL="0" marR="0" lvl="0" indent="0" algn="l" defTabSz="914400" rtl="0" eaLnBrk="1" fontAlgn="auto" latinLnBrk="0" hangingPunct="1">
              <a:lnSpc>
                <a:spcPct val="150000"/>
              </a:lnSpc>
              <a:spcBef>
                <a:spcPts val="0"/>
              </a:spcBef>
              <a:spcAft>
                <a:spcPts val="0"/>
              </a:spcAft>
              <a:buClrTx/>
              <a:buSzPts val="1000"/>
              <a:buFont typeface="Arial" panose="020B0604020202020204" pitchFamily="34" charset="0"/>
              <a:buNone/>
              <a:tabLst>
                <a:tab pos="699836" algn="l"/>
              </a:tabLst>
              <a:defRPr/>
            </a:pPr>
            <a:endParaRPr lang="en-US" sz="1600" b="0" i="0" dirty="0">
              <a:solidFill>
                <a:srgbClr val="1C1D1F"/>
              </a:solidFill>
              <a:effectLst/>
              <a:latin typeface="+mn-lt"/>
            </a:endParaRPr>
          </a:p>
          <a:p>
            <a:pPr marL="171450" indent="-171450">
              <a:lnSpc>
                <a:spcPct val="150000"/>
              </a:lnSpc>
              <a:buSzPts val="1000"/>
              <a:buFont typeface="Arial" panose="020B0604020202020204" pitchFamily="34" charset="0"/>
              <a:buChar char="•"/>
              <a:tabLst>
                <a:tab pos="699836" algn="l"/>
              </a:tabLst>
              <a:defRPr/>
            </a:pPr>
            <a:r>
              <a:rPr lang="en-US" sz="1600" b="0" i="0" dirty="0">
                <a:solidFill>
                  <a:srgbClr val="1C1D1F"/>
                </a:solidFill>
                <a:effectLst/>
                <a:latin typeface="+mn-lt"/>
              </a:rPr>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B68325-7E99-4038-93B0-BE77BF92C0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16801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6558" lvl="1">
              <a:lnSpc>
                <a:spcPct val="150000"/>
              </a:lnSpc>
            </a:pPr>
            <a:endParaRPr lang="en-US" kern="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A6481-3AF1-47A1-8F0E-029127C7D5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06099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A6481-3AF1-47A1-8F0E-029127C7D5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98004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A2C7FE-6324-4C06-BB59-F07ADCE8F5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45477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E9444-2FC4-47A1-8141-63AC560D24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11523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600"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D1ACE3-BEA8-44CB-A4EB-17A726DA47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51589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6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A6481-3AF1-47A1-8F0E-029127C7D5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54011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3A6481-3AF1-47A1-8F0E-029127C7D5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51257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8A90D8-2647-4560-8208-F58DCE3DB525}" type="slidenum">
              <a:rPr lang="en-US" smtClean="0"/>
              <a:t>44</a:t>
            </a:fld>
            <a:endParaRPr lang="en-US"/>
          </a:p>
        </p:txBody>
      </p:sp>
    </p:spTree>
    <p:extLst>
      <p:ext uri="{BB962C8B-B14F-4D97-AF65-F5344CB8AC3E}">
        <p14:creationId xmlns:p14="http://schemas.microsoft.com/office/powerpoint/2010/main" val="4061313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873861-3BBD-3642-AFE3-1AD7374F11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85541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873861-3BBD-3642-AFE3-1AD7374F113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68191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So again the things that we're worried about, that we pay attention to regarding a pandemic is, a new virus emerges or one that we know is circulating in Birds or in animals that, it then acquires the ability to be transmitted in a sustained fashion from one person to one person. Meaning you don't need contact with an animal to be infected. The reason why this is concerning is that there may be more and more because there's very little immunity to this virus. There’s no vaccination, most likely people have not been infected with this virus before so, there's a large population that is susceptible and it could spread quickly through a very susceptible human population. And it's important to note that, a virus is made up of amino acids and any one small change in those </a:t>
            </a:r>
            <a:r>
              <a:rPr lang="en-US" sz="1200" b="0" i="0" u="none" strike="noStrike" kern="1200" baseline="0" dirty="0" err="1">
                <a:solidFill>
                  <a:schemeClr val="tx1"/>
                </a:solidFill>
                <a:latin typeface="+mn-lt"/>
                <a:ea typeface="+mn-ea"/>
                <a:cs typeface="+mn-cs"/>
              </a:rPr>
              <a:t>amina</a:t>
            </a:r>
            <a:r>
              <a:rPr lang="en-US" sz="1200" b="0" i="0" u="none" strike="noStrike" kern="1200" baseline="0" dirty="0">
                <a:solidFill>
                  <a:schemeClr val="tx1"/>
                </a:solidFill>
                <a:latin typeface="+mn-lt"/>
                <a:ea typeface="+mn-ea"/>
                <a:cs typeface="+mn-cs"/>
              </a:rPr>
              <a:t> in amino acids could change the property of that virus and could have the effect of changing its transmission meaning, it could change the virus so that it's more likely to be spread from one infected person to another. And this is again why we emphasize it's very important that we keep a close eye on these viruses and, that we like to know the sequence of these viruses so we can detect these changes before they become a large problem.</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EB17A64-1461-48EA-88E8-FBB6D469B1B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37312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r>
              <a:rPr lang="en-US"/>
              <a:t>Because of the diversity of influenza viruses and their propensity to evolve and change, there is a critical need for global surveillance and characterization of influenza viruses.</a:t>
            </a:r>
          </a:p>
          <a:p>
            <a:endParaRPr lang="en-US"/>
          </a:p>
          <a:p>
            <a:r>
              <a:rPr lang="en-US"/>
              <a:t>152 NICs in 133 CATs or 130 MS</a:t>
            </a:r>
          </a:p>
          <a:p>
            <a:r>
              <a:rPr lang="en-US"/>
              <a:t>4 ERLs in 4 CAT or 4 MS</a:t>
            </a:r>
          </a:p>
          <a:p>
            <a:r>
              <a:rPr lang="en-US"/>
              <a:t>7 CCs in 6 CAT or MS</a:t>
            </a:r>
          </a:p>
          <a:p>
            <a:r>
              <a:rPr lang="en-US"/>
              <a:t>12 H5 ref labs in 10 CAT or 9 MS</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CF313B3-247E-49B7-8CAB-4D81AFAEDF1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814796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pPr defTabSz="933237">
              <a:defRPr/>
            </a:pPr>
            <a:r>
              <a:rPr lang="en-US" dirty="0"/>
              <a:t>In addition to surveillance of seasonal influenza, GISRS also monitors human infections with animal viruses. Here we can see the epidemic curve of zoonotic influenza infections since 2003. Nearly 900 detections of </a:t>
            </a:r>
            <a:r>
              <a:rPr lang="en-US" b="1" dirty="0"/>
              <a:t>A(H5N1) in humans</a:t>
            </a:r>
            <a:r>
              <a:rPr lang="en-US" dirty="0"/>
              <a:t> reported from over 20 countries since 2003, in red. The peaks in blue from 2023 thru 2017 represent human infections with A(H7N9) viruses. But infections with a variety of subtypes continue presently.</a:t>
            </a:r>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CF313B3-247E-49B7-8CAB-4D81AFAEDF1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28311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pPr defTabSz="933237">
              <a:defRPr/>
            </a:pPr>
            <a:r>
              <a:rPr lang="en-US"/>
              <a:t>In addition to surveillance of seasonal influenza, GISRS also monitors human infections with animal viruses. Here we can see the epidemic curve of zoonotic influenza infections since 2003. Nearly 900 detections of </a:t>
            </a:r>
            <a:r>
              <a:rPr lang="en-US" b="1"/>
              <a:t>A(H5N1) in humans</a:t>
            </a:r>
            <a:r>
              <a:rPr lang="en-US"/>
              <a:t> reported from over 20 countries since 2003, in red. The peaks in blue from 2023 thru 2017 represent human infections with A(H7N9) viruses. But infections with a variety of subtypes continue presently.</a:t>
            </a:r>
            <a:endParaRPr lang="en-US">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CF313B3-247E-49B7-8CAB-4D81AFAEDF1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95398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34.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5.emf"/><Relationship Id="rId4" Type="http://schemas.openxmlformats.org/officeDocument/2006/relationships/oleObject" Target="../embeddings/oleObject3.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2FD68-9B9A-016D-3523-159AFEA553B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E4DF022-5D8F-CEB0-C3EE-3821A57CDC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70791AE-556E-FA88-3D3E-149CEAB90034}"/>
              </a:ext>
            </a:extLst>
          </p:cNvPr>
          <p:cNvSpPr>
            <a:spLocks noGrp="1"/>
          </p:cNvSpPr>
          <p:nvPr>
            <p:ph type="dt" sz="half" idx="10"/>
          </p:nvPr>
        </p:nvSpPr>
        <p:spPr/>
        <p:txBody>
          <a:bodyPr/>
          <a:lstStyle/>
          <a:p>
            <a:fld id="{A4DFAF99-672D-4536-B69E-619E30BDF832}" type="datetimeFigureOut">
              <a:rPr lang="en-US" smtClean="0"/>
              <a:t>8/27/2024</a:t>
            </a:fld>
            <a:endParaRPr lang="en-US"/>
          </a:p>
        </p:txBody>
      </p:sp>
      <p:sp>
        <p:nvSpPr>
          <p:cNvPr id="5" name="Footer Placeholder 4">
            <a:extLst>
              <a:ext uri="{FF2B5EF4-FFF2-40B4-BE49-F238E27FC236}">
                <a16:creationId xmlns:a16="http://schemas.microsoft.com/office/drawing/2014/main" id="{2060A19F-7ECA-B94B-E436-7BC63F5C79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29C2B8-9B5F-8ADF-AACA-5FC790922DB7}"/>
              </a:ext>
            </a:extLst>
          </p:cNvPr>
          <p:cNvSpPr>
            <a:spLocks noGrp="1"/>
          </p:cNvSpPr>
          <p:nvPr>
            <p:ph type="sldNum" sz="quarter" idx="12"/>
          </p:nvPr>
        </p:nvSpPr>
        <p:spPr/>
        <p:txBody>
          <a:bodyPr/>
          <a:lstStyle/>
          <a:p>
            <a:fld id="{C7692B91-5C3A-407C-8D38-F29469363295}" type="slidenum">
              <a:rPr lang="en-US" smtClean="0"/>
              <a:t>‹#›</a:t>
            </a:fld>
            <a:endParaRPr lang="en-US"/>
          </a:p>
        </p:txBody>
      </p:sp>
    </p:spTree>
    <p:extLst>
      <p:ext uri="{BB962C8B-B14F-4D97-AF65-F5344CB8AC3E}">
        <p14:creationId xmlns:p14="http://schemas.microsoft.com/office/powerpoint/2010/main" val="23796546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36E50-FDD8-3A17-C5D4-1ACA9EFC567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2A4A8B-1C89-C568-55C6-8B81378CC19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60A97B-C223-5660-0112-F96E866AAC1B}"/>
              </a:ext>
            </a:extLst>
          </p:cNvPr>
          <p:cNvSpPr>
            <a:spLocks noGrp="1"/>
          </p:cNvSpPr>
          <p:nvPr>
            <p:ph type="dt" sz="half" idx="10"/>
          </p:nvPr>
        </p:nvSpPr>
        <p:spPr/>
        <p:txBody>
          <a:bodyPr/>
          <a:lstStyle/>
          <a:p>
            <a:fld id="{A4DFAF99-672D-4536-B69E-619E30BDF832}" type="datetimeFigureOut">
              <a:rPr lang="en-US" smtClean="0"/>
              <a:t>8/27/2024</a:t>
            </a:fld>
            <a:endParaRPr lang="en-US"/>
          </a:p>
        </p:txBody>
      </p:sp>
      <p:sp>
        <p:nvSpPr>
          <p:cNvPr id="5" name="Footer Placeholder 4">
            <a:extLst>
              <a:ext uri="{FF2B5EF4-FFF2-40B4-BE49-F238E27FC236}">
                <a16:creationId xmlns:a16="http://schemas.microsoft.com/office/drawing/2014/main" id="{1C7EE688-3927-D094-90FB-E00855F6A6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D7D29F-23ED-6AD4-6045-5B5C0E9021B9}"/>
              </a:ext>
            </a:extLst>
          </p:cNvPr>
          <p:cNvSpPr>
            <a:spLocks noGrp="1"/>
          </p:cNvSpPr>
          <p:nvPr>
            <p:ph type="sldNum" sz="quarter" idx="12"/>
          </p:nvPr>
        </p:nvSpPr>
        <p:spPr/>
        <p:txBody>
          <a:bodyPr/>
          <a:lstStyle/>
          <a:p>
            <a:fld id="{C7692B91-5C3A-407C-8D38-F29469363295}" type="slidenum">
              <a:rPr lang="en-US" smtClean="0"/>
              <a:t>‹#›</a:t>
            </a:fld>
            <a:endParaRPr lang="en-US"/>
          </a:p>
        </p:txBody>
      </p:sp>
    </p:spTree>
    <p:extLst>
      <p:ext uri="{BB962C8B-B14F-4D97-AF65-F5344CB8AC3E}">
        <p14:creationId xmlns:p14="http://schemas.microsoft.com/office/powerpoint/2010/main" val="1005225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8/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8772442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8/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1548581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8/2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362915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8/2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5651682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8/2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603678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6398034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1512119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294011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0439926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8_Data Slide (for content heavy tables and charts)">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609600" y="1824284"/>
            <a:ext cx="10972800" cy="4176467"/>
          </a:xfrm>
        </p:spPr>
        <p:txBody>
          <a:bodyPr>
            <a:normAutofit/>
          </a:bodyPr>
          <a:lstStyle>
            <a:lvl1pPr marL="287338" indent="-287338">
              <a:lnSpc>
                <a:spcPts val="2933"/>
              </a:lnSpc>
              <a:buClr>
                <a:srgbClr val="B2A97E"/>
              </a:buClr>
              <a:buFont typeface="Arial" panose="020B0604020202020204" pitchFamily="34" charset="0"/>
              <a:buChar char="•"/>
              <a:defRPr sz="2400" b="0">
                <a:solidFill>
                  <a:srgbClr val="1D1D1D"/>
                </a:solidFill>
                <a:latin typeface="+mn-lt"/>
              </a:defRPr>
            </a:lvl1pPr>
            <a:lvl2pPr marL="801688" indent="-344488">
              <a:lnSpc>
                <a:spcPts val="2667"/>
              </a:lnSpc>
              <a:buClr>
                <a:srgbClr val="542D62"/>
              </a:buClr>
              <a:buFont typeface="Arial" panose="020B0604020202020204" pitchFamily="34" charset="0"/>
              <a:buChar char="–"/>
              <a:defRPr sz="2400">
                <a:solidFill>
                  <a:srgbClr val="1D1D1D"/>
                </a:solidFill>
                <a:latin typeface="+mn-lt"/>
              </a:defRPr>
            </a:lvl2pPr>
            <a:lvl3pPr marL="1143000" indent="-228600">
              <a:lnSpc>
                <a:spcPts val="2667"/>
              </a:lnSpc>
              <a:buClr>
                <a:srgbClr val="5A5A5A"/>
              </a:buClr>
              <a:buFont typeface="Calibri" panose="020F0502020204030204" pitchFamily="34" charset="0"/>
              <a:buChar char="›"/>
              <a:defRPr sz="2400">
                <a:solidFill>
                  <a:srgbClr val="1D1D1D"/>
                </a:solidFill>
                <a:latin typeface="+mn-lt"/>
              </a:defRPr>
            </a:lvl3pPr>
            <a:lvl4pPr marL="1600200" indent="-228600">
              <a:buFont typeface="Arial" panose="020B0604020202020204" pitchFamily="34" charset="0"/>
              <a:buChar char="»"/>
              <a:defRPr sz="2667">
                <a:solidFill>
                  <a:srgbClr val="1D1D1D"/>
                </a:solidFill>
              </a:defRPr>
            </a:lvl4pPr>
            <a:lvl5pPr marL="2057400" indent="-228600">
              <a:buFont typeface="Arial" panose="020B0604020202020204" pitchFamily="34" charset="0"/>
              <a:buChar char="-"/>
              <a:defRPr sz="2667">
                <a:solidFill>
                  <a:srgbClr val="1D1D1D"/>
                </a:solidFill>
              </a:defRPr>
            </a:lvl5pPr>
          </a:lstStyle>
          <a:p>
            <a:pPr lvl="0"/>
            <a:r>
              <a:rPr lang="en-US"/>
              <a:t>Click to edit Master text styles</a:t>
            </a:r>
          </a:p>
          <a:p>
            <a:pPr lvl="1"/>
            <a:r>
              <a:rPr lang="en-US"/>
              <a:t>Second level</a:t>
            </a:r>
          </a:p>
          <a:p>
            <a:pPr lvl="2"/>
            <a:r>
              <a:rPr lang="en-US"/>
              <a:t>Thir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542D62"/>
                </a:solidFill>
                <a:effectLst/>
                <a:latin typeface="Calibri" pitchFamily="34" charset="0"/>
              </a:defRPr>
            </a:lvl1pPr>
          </a:lstStyle>
          <a:p>
            <a:endParaRPr lang="en-US"/>
          </a:p>
        </p:txBody>
      </p:sp>
    </p:spTree>
    <p:extLst>
      <p:ext uri="{BB962C8B-B14F-4D97-AF65-F5344CB8AC3E}">
        <p14:creationId xmlns:p14="http://schemas.microsoft.com/office/powerpoint/2010/main" val="28022239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F23551-61BE-9C82-FC01-E89B382E9D3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B603F98-3A5E-60CC-57A1-971FAB92461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5ED6F2-1B93-3ED7-8B44-7C3935DB023A}"/>
              </a:ext>
            </a:extLst>
          </p:cNvPr>
          <p:cNvSpPr>
            <a:spLocks noGrp="1"/>
          </p:cNvSpPr>
          <p:nvPr>
            <p:ph type="dt" sz="half" idx="10"/>
          </p:nvPr>
        </p:nvSpPr>
        <p:spPr/>
        <p:txBody>
          <a:bodyPr/>
          <a:lstStyle/>
          <a:p>
            <a:fld id="{A4DFAF99-672D-4536-B69E-619E30BDF832}" type="datetimeFigureOut">
              <a:rPr lang="en-US" smtClean="0"/>
              <a:t>8/27/2024</a:t>
            </a:fld>
            <a:endParaRPr lang="en-US"/>
          </a:p>
        </p:txBody>
      </p:sp>
      <p:sp>
        <p:nvSpPr>
          <p:cNvPr id="5" name="Footer Placeholder 4">
            <a:extLst>
              <a:ext uri="{FF2B5EF4-FFF2-40B4-BE49-F238E27FC236}">
                <a16:creationId xmlns:a16="http://schemas.microsoft.com/office/drawing/2014/main" id="{F33A1570-7C3B-F5C8-678E-5CD715D15C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9F24B8-10B9-4BDC-4435-AF2A2741001C}"/>
              </a:ext>
            </a:extLst>
          </p:cNvPr>
          <p:cNvSpPr>
            <a:spLocks noGrp="1"/>
          </p:cNvSpPr>
          <p:nvPr>
            <p:ph type="sldNum" sz="quarter" idx="12"/>
          </p:nvPr>
        </p:nvSpPr>
        <p:spPr/>
        <p:txBody>
          <a:bodyPr/>
          <a:lstStyle/>
          <a:p>
            <a:fld id="{C7692B91-5C3A-407C-8D38-F29469363295}" type="slidenum">
              <a:rPr lang="en-US" smtClean="0"/>
              <a:t>‹#›</a:t>
            </a:fld>
            <a:endParaRPr lang="en-US"/>
          </a:p>
        </p:txBody>
      </p:sp>
    </p:spTree>
    <p:extLst>
      <p:ext uri="{BB962C8B-B14F-4D97-AF65-F5344CB8AC3E}">
        <p14:creationId xmlns:p14="http://schemas.microsoft.com/office/powerpoint/2010/main" val="224272692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371600"/>
            <a:ext cx="10972800" cy="4621212"/>
          </a:xfrm>
        </p:spPr>
        <p:txBody>
          <a:bodyPr/>
          <a:lstStyle>
            <a:lvl1pPr>
              <a:defRPr>
                <a:solidFill>
                  <a:srgbClr val="00133A"/>
                </a:solidFill>
              </a:defRPr>
            </a:lvl1pPr>
            <a:lvl2pPr>
              <a:defRPr>
                <a:solidFill>
                  <a:srgbClr val="00133A"/>
                </a:solidFill>
              </a:defRPr>
            </a:lvl2pPr>
            <a:lvl3pPr>
              <a:defRPr>
                <a:solidFill>
                  <a:srgbClr val="00133A"/>
                </a:solidFill>
              </a:defRPr>
            </a:lvl3pPr>
            <a:lvl4pPr>
              <a:defRPr>
                <a:solidFill>
                  <a:srgbClr val="00133A"/>
                </a:solidFill>
              </a:defRPr>
            </a:lvl4pPr>
            <a:lvl5pPr>
              <a:defRPr>
                <a:solidFill>
                  <a:srgbClr val="00133A"/>
                </a:solidFill>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2260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Patter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CF7E90A8-0493-42EE-8E0B-C014E85EF56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Subtitle 2">
            <a:extLst>
              <a:ext uri="{FF2B5EF4-FFF2-40B4-BE49-F238E27FC236}">
                <a16:creationId xmlns:a16="http://schemas.microsoft.com/office/drawing/2014/main" id="{880606FA-C36B-44EE-91CC-23E328C62D24}"/>
              </a:ext>
            </a:extLst>
          </p:cNvPr>
          <p:cNvSpPr>
            <a:spLocks noGrp="1"/>
          </p:cNvSpPr>
          <p:nvPr>
            <p:ph type="subTitle" idx="1"/>
          </p:nvPr>
        </p:nvSpPr>
        <p:spPr>
          <a:xfrm>
            <a:off x="4361861" y="3051684"/>
            <a:ext cx="7187028" cy="1752600"/>
          </a:xfrm>
        </p:spPr>
        <p:txBody>
          <a:bodyPr>
            <a:normAutofit/>
          </a:bodyPr>
          <a:lstStyle>
            <a:lvl1pPr marL="0" indent="0" algn="l">
              <a:buNone/>
              <a:defRPr sz="1800">
                <a:solidFill>
                  <a:srgbClr val="FFFFFF"/>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4" name="Title 1">
            <a:extLst>
              <a:ext uri="{FF2B5EF4-FFF2-40B4-BE49-F238E27FC236}">
                <a16:creationId xmlns:a16="http://schemas.microsoft.com/office/drawing/2014/main" id="{EB746CDD-D828-4CA9-922F-39CA5C1B8DE9}"/>
              </a:ext>
            </a:extLst>
          </p:cNvPr>
          <p:cNvSpPr>
            <a:spLocks noGrp="1"/>
          </p:cNvSpPr>
          <p:nvPr>
            <p:ph type="title" hasCustomPrompt="1"/>
          </p:nvPr>
        </p:nvSpPr>
        <p:spPr>
          <a:xfrm>
            <a:off x="4319849" y="2257017"/>
            <a:ext cx="7229040" cy="702080"/>
          </a:xfrm>
        </p:spPr>
        <p:txBody>
          <a:bodyPr anchor="t">
            <a:noAutofit/>
          </a:bodyPr>
          <a:lstStyle>
            <a:lvl1pPr algn="l">
              <a:defRPr sz="4400" b="1">
                <a:solidFill>
                  <a:srgbClr val="FFFFFF"/>
                </a:solidFill>
                <a:latin typeface="Century Gothic" panose="020B0502020202020204" pitchFamily="34" charset="0"/>
              </a:defRPr>
            </a:lvl1pPr>
          </a:lstStyle>
          <a:p>
            <a:r>
              <a:rPr lang="en-US"/>
              <a:t>CLICK TO EDIT</a:t>
            </a:r>
          </a:p>
        </p:txBody>
      </p:sp>
      <p:pic>
        <p:nvPicPr>
          <p:cNvPr id="6" name="Picture 5" descr="Logo&#10;&#10;Description automatically generated">
            <a:extLst>
              <a:ext uri="{FF2B5EF4-FFF2-40B4-BE49-F238E27FC236}">
                <a16:creationId xmlns:a16="http://schemas.microsoft.com/office/drawing/2014/main" id="{51414F3B-9F39-46C8-8531-4585C500F6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0005" y="5651594"/>
            <a:ext cx="1490123" cy="871732"/>
          </a:xfrm>
          <a:prstGeom prst="rect">
            <a:avLst/>
          </a:prstGeom>
        </p:spPr>
      </p:pic>
    </p:spTree>
    <p:extLst>
      <p:ext uri="{BB962C8B-B14F-4D97-AF65-F5344CB8AC3E}">
        <p14:creationId xmlns:p14="http://schemas.microsoft.com/office/powerpoint/2010/main" val="135052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vider">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D40083F7-3379-4899-89F4-8EA4E9927D1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Title 1"/>
          <p:cNvSpPr>
            <a:spLocks noGrp="1"/>
          </p:cNvSpPr>
          <p:nvPr>
            <p:ph type="title" hasCustomPrompt="1"/>
          </p:nvPr>
        </p:nvSpPr>
        <p:spPr>
          <a:xfrm>
            <a:off x="1827816" y="3894910"/>
            <a:ext cx="8467016" cy="702080"/>
          </a:xfrm>
        </p:spPr>
        <p:txBody>
          <a:bodyPr anchor="t"/>
          <a:lstStyle>
            <a:lvl1pPr algn="ctr">
              <a:defRPr sz="2800" b="1">
                <a:solidFill>
                  <a:srgbClr val="FFFFFF"/>
                </a:solidFill>
              </a:defRPr>
            </a:lvl1pPr>
          </a:lstStyle>
          <a:p>
            <a:r>
              <a:rPr lang="en-US"/>
              <a:t>CLICK TO EDIT</a:t>
            </a:r>
          </a:p>
        </p:txBody>
      </p:sp>
      <p:sp>
        <p:nvSpPr>
          <p:cNvPr id="10" name="Picture Placeholder 4">
            <a:extLst>
              <a:ext uri="{FF2B5EF4-FFF2-40B4-BE49-F238E27FC236}">
                <a16:creationId xmlns:a16="http://schemas.microsoft.com/office/drawing/2014/main" id="{2C2F3741-424D-4C8A-B7AC-6BE4DECF5C4F}"/>
              </a:ext>
            </a:extLst>
          </p:cNvPr>
          <p:cNvSpPr>
            <a:spLocks noGrp="1"/>
          </p:cNvSpPr>
          <p:nvPr>
            <p:ph type="pic" sz="quarter" idx="10"/>
          </p:nvPr>
        </p:nvSpPr>
        <p:spPr>
          <a:xfrm>
            <a:off x="4902149" y="1126749"/>
            <a:ext cx="2318349" cy="2302251"/>
          </a:xfrm>
          <a:prstGeom prst="flowChartConnector">
            <a:avLst/>
          </a:prstGeom>
        </p:spPr>
        <p:txBody>
          <a:bodyPr>
            <a:normAutofit/>
          </a:bodyPr>
          <a:lstStyle>
            <a:lvl1pPr marL="0" indent="0" algn="ctr">
              <a:buNone/>
              <a:defRPr sz="2800" b="1"/>
            </a:lvl1pPr>
          </a:lstStyle>
          <a:p>
            <a:endParaRPr lang="en-US"/>
          </a:p>
        </p:txBody>
      </p:sp>
      <p:pic>
        <p:nvPicPr>
          <p:cNvPr id="7" name="Picture 6" descr="Logo&#10;&#10;Description automatically generated">
            <a:extLst>
              <a:ext uri="{FF2B5EF4-FFF2-40B4-BE49-F238E27FC236}">
                <a16:creationId xmlns:a16="http://schemas.microsoft.com/office/drawing/2014/main" id="{2B8C7A97-EDBE-489F-A1A8-BA5CCCE1BA5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0005" y="5651594"/>
            <a:ext cx="1490123" cy="871732"/>
          </a:xfrm>
          <a:prstGeom prst="rect">
            <a:avLst/>
          </a:prstGeom>
        </p:spPr>
      </p:pic>
    </p:spTree>
    <p:extLst>
      <p:ext uri="{BB962C8B-B14F-4D97-AF65-F5344CB8AC3E}">
        <p14:creationId xmlns:p14="http://schemas.microsoft.com/office/powerpoint/2010/main" val="9272025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Content 2_text &amp; sidebar">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8C6DB5F6-42D0-45D5-BCE5-D4E1616D891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212834" y="0"/>
            <a:ext cx="4979166" cy="6858000"/>
          </a:xfrm>
          <a:prstGeom prst="rect">
            <a:avLst/>
          </a:prstGeom>
        </p:spPr>
      </p:pic>
      <p:sp>
        <p:nvSpPr>
          <p:cNvPr id="10" name="Text Placeholder 3"/>
          <p:cNvSpPr>
            <a:spLocks noGrp="1"/>
          </p:cNvSpPr>
          <p:nvPr>
            <p:ph type="body" sz="half" idx="2" hasCustomPrompt="1"/>
          </p:nvPr>
        </p:nvSpPr>
        <p:spPr>
          <a:xfrm>
            <a:off x="7666057" y="683770"/>
            <a:ext cx="4011084" cy="5271645"/>
          </a:xfrm>
        </p:spPr>
        <p:txBody>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a:t>
            </a:r>
          </a:p>
          <a:p>
            <a:pPr lvl="0"/>
            <a:endParaRPr lang="en-US"/>
          </a:p>
        </p:txBody>
      </p:sp>
      <p:sp>
        <p:nvSpPr>
          <p:cNvPr id="14" name="Title 1"/>
          <p:cNvSpPr>
            <a:spLocks noGrp="1"/>
          </p:cNvSpPr>
          <p:nvPr>
            <p:ph type="title"/>
          </p:nvPr>
        </p:nvSpPr>
        <p:spPr>
          <a:xfrm>
            <a:off x="871323" y="714297"/>
            <a:ext cx="5576083" cy="506712"/>
          </a:xfrm>
        </p:spPr>
        <p:txBody>
          <a:bodyPr anchor="t"/>
          <a:lstStyle>
            <a:lvl1pPr algn="l">
              <a:defRPr sz="2000" b="1">
                <a:solidFill>
                  <a:schemeClr val="tx1"/>
                </a:solidFill>
              </a:defRPr>
            </a:lvl1pPr>
          </a:lstStyle>
          <a:p>
            <a:r>
              <a:rPr lang="en-US"/>
              <a:t>Click to edit Master title</a:t>
            </a:r>
          </a:p>
        </p:txBody>
      </p:sp>
      <p:sp>
        <p:nvSpPr>
          <p:cNvPr id="12" name="Text Placeholder 3"/>
          <p:cNvSpPr>
            <a:spLocks noGrp="1"/>
          </p:cNvSpPr>
          <p:nvPr>
            <p:ph type="body" sz="half" idx="13"/>
          </p:nvPr>
        </p:nvSpPr>
        <p:spPr>
          <a:xfrm>
            <a:off x="891040" y="1308295"/>
            <a:ext cx="5556365" cy="3982752"/>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a:p>
            <a:pPr lvl="0"/>
            <a:endParaRPr lang="en-US"/>
          </a:p>
          <a:p>
            <a:pPr lvl="0"/>
            <a:endParaRPr lang="en-US"/>
          </a:p>
        </p:txBody>
      </p:sp>
      <p:pic>
        <p:nvPicPr>
          <p:cNvPr id="7" name="Picture 6" descr="Logo&#10;&#10;Description automatically generated">
            <a:extLst>
              <a:ext uri="{FF2B5EF4-FFF2-40B4-BE49-F238E27FC236}">
                <a16:creationId xmlns:a16="http://schemas.microsoft.com/office/drawing/2014/main" id="{8F2AF8A2-97D1-47BA-80DB-118A745C3F2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94775" y="6196111"/>
            <a:ext cx="710945" cy="415908"/>
          </a:xfrm>
          <a:prstGeom prst="rect">
            <a:avLst/>
          </a:prstGeom>
        </p:spPr>
      </p:pic>
    </p:spTree>
    <p:extLst>
      <p:ext uri="{BB962C8B-B14F-4D97-AF65-F5344CB8AC3E}">
        <p14:creationId xmlns:p14="http://schemas.microsoft.com/office/powerpoint/2010/main" val="17513207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p>
            <a:fld id="{58517F13-D66F-48DE-A1EA-03575FB96D04}" type="slidenum">
              <a:rPr lang="en-US" smtClean="0"/>
              <a:t>‹#›</a:t>
            </a:fld>
            <a:endParaRPr lang="en-US"/>
          </a:p>
        </p:txBody>
      </p:sp>
    </p:spTree>
    <p:extLst>
      <p:ext uri="{BB962C8B-B14F-4D97-AF65-F5344CB8AC3E}">
        <p14:creationId xmlns:p14="http://schemas.microsoft.com/office/powerpoint/2010/main" val="34812080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p>
            <a:fld id="{58517F13-D66F-48DE-A1EA-03575FB96D04}" type="slidenum">
              <a:rPr lang="en-US" smtClean="0"/>
              <a:t>‹#›</a:t>
            </a:fld>
            <a:endParaRPr lang="en-US"/>
          </a:p>
        </p:txBody>
      </p:sp>
    </p:spTree>
    <p:extLst>
      <p:ext uri="{BB962C8B-B14F-4D97-AF65-F5344CB8AC3E}">
        <p14:creationId xmlns:p14="http://schemas.microsoft.com/office/powerpoint/2010/main" val="17407812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D9C36-1D14-469C-A2B5-1FA6E49D0EF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1866C08-D2E5-4C6B-B442-3730F7AE49A6}"/>
              </a:ext>
            </a:extLst>
          </p:cNvPr>
          <p:cNvSpPr>
            <a:spLocks noGrp="1"/>
          </p:cNvSpPr>
          <p:nvPr>
            <p:ph type="sldNum" sz="quarter" idx="10"/>
          </p:nvPr>
        </p:nvSpPr>
        <p:spPr/>
        <p:txBody>
          <a:bodyPr/>
          <a:lstStyle/>
          <a:p>
            <a:fld id="{58517F13-D66F-48DE-A1EA-03575FB96D04}" type="slidenum">
              <a:rPr lang="en-US" smtClean="0"/>
              <a:t>‹#›</a:t>
            </a:fld>
            <a:endParaRPr lang="en-US"/>
          </a:p>
        </p:txBody>
      </p:sp>
    </p:spTree>
    <p:extLst>
      <p:ext uri="{BB962C8B-B14F-4D97-AF65-F5344CB8AC3E}">
        <p14:creationId xmlns:p14="http://schemas.microsoft.com/office/powerpoint/2010/main" val="25615869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p>
            <a:fld id="{58517F13-D66F-48DE-A1EA-03575FB96D04}" type="slidenum">
              <a:rPr lang="en-US" smtClean="0"/>
              <a:t>‹#›</a:t>
            </a:fld>
            <a:endParaRPr lang="en-US"/>
          </a:p>
        </p:txBody>
      </p:sp>
    </p:spTree>
    <p:extLst>
      <p:ext uri="{BB962C8B-B14F-4D97-AF65-F5344CB8AC3E}">
        <p14:creationId xmlns:p14="http://schemas.microsoft.com/office/powerpoint/2010/main" val="283959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58517F13-D66F-48DE-A1EA-03575FB96D04}" type="slidenum">
              <a:rPr lang="en-US" smtClean="0"/>
              <a:t>‹#›</a:t>
            </a:fld>
            <a:endParaRPr lang="en-US"/>
          </a:p>
        </p:txBody>
      </p:sp>
    </p:spTree>
    <p:extLst>
      <p:ext uri="{BB962C8B-B14F-4D97-AF65-F5344CB8AC3E}">
        <p14:creationId xmlns:p14="http://schemas.microsoft.com/office/powerpoint/2010/main" val="35807518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A0545-E5E2-FA71-5456-7813A1C7972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EE1C97-62FE-36C6-EB08-6D34216241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27C7AF-001E-67B4-8A0B-5F01FBBC9CEB}"/>
              </a:ext>
            </a:extLst>
          </p:cNvPr>
          <p:cNvSpPr>
            <a:spLocks noGrp="1"/>
          </p:cNvSpPr>
          <p:nvPr>
            <p:ph type="dt" sz="half" idx="10"/>
          </p:nvPr>
        </p:nvSpPr>
        <p:spPr/>
        <p:txBody>
          <a:bodyPr/>
          <a:lstStyle/>
          <a:p>
            <a:fld id="{A4DFAF99-672D-4536-B69E-619E30BDF832}" type="datetimeFigureOut">
              <a:rPr lang="en-US" smtClean="0"/>
              <a:t>8/27/2024</a:t>
            </a:fld>
            <a:endParaRPr lang="en-US"/>
          </a:p>
        </p:txBody>
      </p:sp>
      <p:sp>
        <p:nvSpPr>
          <p:cNvPr id="5" name="Footer Placeholder 4">
            <a:extLst>
              <a:ext uri="{FF2B5EF4-FFF2-40B4-BE49-F238E27FC236}">
                <a16:creationId xmlns:a16="http://schemas.microsoft.com/office/drawing/2014/main" id="{8A453AAD-600A-9105-2B7D-57210F6487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2E6C8D-7B3F-FF52-9F73-5FF7E63AFE24}"/>
              </a:ext>
            </a:extLst>
          </p:cNvPr>
          <p:cNvSpPr>
            <a:spLocks noGrp="1"/>
          </p:cNvSpPr>
          <p:nvPr>
            <p:ph type="sldNum" sz="quarter" idx="12"/>
          </p:nvPr>
        </p:nvSpPr>
        <p:spPr/>
        <p:txBody>
          <a:bodyPr/>
          <a:lstStyle/>
          <a:p>
            <a:fld id="{C7692B91-5C3A-407C-8D38-F29469363295}" type="slidenum">
              <a:rPr lang="en-US" smtClean="0"/>
              <a:t>‹#›</a:t>
            </a:fld>
            <a:endParaRPr lang="en-US"/>
          </a:p>
        </p:txBody>
      </p:sp>
    </p:spTree>
    <p:extLst>
      <p:ext uri="{BB962C8B-B14F-4D97-AF65-F5344CB8AC3E}">
        <p14:creationId xmlns:p14="http://schemas.microsoft.com/office/powerpoint/2010/main" val="20557414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8" name="Slide Number Placeholder 7"/>
          <p:cNvSpPr>
            <a:spLocks noGrp="1"/>
          </p:cNvSpPr>
          <p:nvPr>
            <p:ph type="sldNum" sz="quarter" idx="10"/>
          </p:nvPr>
        </p:nvSpPr>
        <p:spPr/>
        <p:txBody>
          <a:bodyPr/>
          <a:lstStyle/>
          <a:p>
            <a:fld id="{58517F13-D66F-48DE-A1EA-03575FB96D04}" type="slidenum">
              <a:rPr lang="en-US" smtClean="0"/>
              <a:t>‹#›</a:t>
            </a:fld>
            <a:endParaRPr lang="en-US"/>
          </a:p>
        </p:txBody>
      </p:sp>
    </p:spTree>
    <p:extLst>
      <p:ext uri="{BB962C8B-B14F-4D97-AF65-F5344CB8AC3E}">
        <p14:creationId xmlns:p14="http://schemas.microsoft.com/office/powerpoint/2010/main" val="3539561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terior_1 ">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87C5C66-F5FF-401A-A64C-C9C432894E54}"/>
              </a:ext>
            </a:extLst>
          </p:cNvPr>
          <p:cNvSpPr/>
          <p:nvPr userDrawn="1"/>
        </p:nvSpPr>
        <p:spPr>
          <a:xfrm rot="10800000">
            <a:off x="5391152" y="0"/>
            <a:ext cx="6800847" cy="6858000"/>
          </a:xfrm>
          <a:prstGeom prst="rect">
            <a:avLst/>
          </a:prstGeom>
          <a:gradFill flip="none" rotWithShape="1">
            <a:gsLst>
              <a:gs pos="86000">
                <a:srgbClr val="73B4E2"/>
              </a:gs>
              <a:gs pos="0">
                <a:srgbClr val="B0DFDB"/>
              </a:gs>
            </a:gsLst>
            <a:path path="circle">
              <a:fillToRect l="100000" t="100000"/>
            </a:path>
            <a:tileRect r="-100000" b="-100000"/>
          </a:gradFill>
          <a:ln>
            <a:noFill/>
          </a:ln>
          <a:effectLst>
            <a:glow>
              <a:schemeClr val="accent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922AB2F2-7576-41D7-A56A-53F41A21E441}"/>
              </a:ext>
            </a:extLst>
          </p:cNvPr>
          <p:cNvSpPr/>
          <p:nvPr userDrawn="1"/>
        </p:nvSpPr>
        <p:spPr>
          <a:xfrm>
            <a:off x="0" y="0"/>
            <a:ext cx="539115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F1F9D298-3334-4809-95DB-ABE2548F0825}"/>
              </a:ext>
            </a:extLst>
          </p:cNvPr>
          <p:cNvSpPr>
            <a:spLocks noGrp="1"/>
          </p:cNvSpPr>
          <p:nvPr>
            <p:ph idx="1"/>
          </p:nvPr>
        </p:nvSpPr>
        <p:spPr>
          <a:xfrm>
            <a:off x="341375" y="1416725"/>
            <a:ext cx="4649725" cy="4995835"/>
          </a:xfrm>
          <a:prstGeom prst="rect">
            <a:avLst/>
          </a:prstGeom>
        </p:spPr>
        <p:txBody>
          <a:bodyPr>
            <a:normAutofit/>
          </a:bodyPr>
          <a:lstStyle>
            <a:lvl1pPr marL="0" indent="0">
              <a:buClr>
                <a:schemeClr val="tx1"/>
              </a:buClr>
              <a:buSzPct val="80000"/>
              <a:buFont typeface="Arial" panose="020B0604020202020204" pitchFamily="34" charset="0"/>
              <a:buNone/>
              <a:defRPr sz="2400" b="0">
                <a:solidFill>
                  <a:schemeClr val="tx1"/>
                </a:solidFill>
                <a:latin typeface="+mn-lt"/>
                <a:cs typeface="Arial" panose="020B0604020202020204" pitchFamily="34" charset="0"/>
              </a:defRPr>
            </a:lvl1pPr>
            <a:lvl2pPr>
              <a:buClr>
                <a:schemeClr val="tx1"/>
              </a:buClr>
              <a:buSzPct val="80000"/>
              <a:buFont typeface="Arial" panose="020B0604020202020204" pitchFamily="34" charset="0"/>
              <a:buChar char="•"/>
              <a:defRPr sz="2000">
                <a:solidFill>
                  <a:schemeClr val="tx1"/>
                </a:solidFill>
                <a:latin typeface="+mn-lt"/>
                <a:cs typeface="Arial" panose="020B0604020202020204" pitchFamily="34" charset="0"/>
              </a:defRPr>
            </a:lvl2pPr>
            <a:lvl3pPr>
              <a:buClr>
                <a:schemeClr val="tx1"/>
              </a:buClr>
              <a:buSzPct val="80000"/>
              <a:buFont typeface="Arial" panose="020B0604020202020204" pitchFamily="34" charset="0"/>
              <a:buChar char="•"/>
              <a:defRPr sz="1800">
                <a:solidFill>
                  <a:schemeClr val="tx1"/>
                </a:solidFill>
                <a:latin typeface="+mn-lt"/>
                <a:cs typeface="Arial" panose="020B0604020202020204" pitchFamily="34" charset="0"/>
              </a:defRPr>
            </a:lvl3pPr>
            <a:lvl4pPr>
              <a:buClr>
                <a:srgbClr val="6CADDF"/>
              </a:buClr>
              <a:buSzPct val="80000"/>
              <a:defRPr sz="1600">
                <a:solidFill>
                  <a:srgbClr val="093552"/>
                </a:solidFill>
                <a:latin typeface="Arial" panose="020B0604020202020204" pitchFamily="34" charset="0"/>
                <a:cs typeface="Arial" panose="020B0604020202020204" pitchFamily="34" charset="0"/>
              </a:defRPr>
            </a:lvl4pPr>
            <a:lvl5pPr>
              <a:buClr>
                <a:srgbClr val="6CADDF"/>
              </a:buClr>
              <a:buSzPct val="80000"/>
              <a:defRPr sz="1600">
                <a:solidFill>
                  <a:srgbClr val="09355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2" name="Title 1">
            <a:extLst>
              <a:ext uri="{FF2B5EF4-FFF2-40B4-BE49-F238E27FC236}">
                <a16:creationId xmlns:a16="http://schemas.microsoft.com/office/drawing/2014/main" id="{11D6F17A-A57F-4293-B8E9-FE3630FDA4C9}"/>
              </a:ext>
            </a:extLst>
          </p:cNvPr>
          <p:cNvSpPr>
            <a:spLocks noGrp="1"/>
          </p:cNvSpPr>
          <p:nvPr>
            <p:ph type="title"/>
          </p:nvPr>
        </p:nvSpPr>
        <p:spPr>
          <a:xfrm>
            <a:off x="341376" y="210094"/>
            <a:ext cx="4649725" cy="971285"/>
          </a:xfrm>
          <a:prstGeom prst="rect">
            <a:avLst/>
          </a:prstGeom>
        </p:spPr>
        <p:txBody>
          <a:bodyPr anchor="ctr">
            <a:noAutofit/>
          </a:bodyPr>
          <a:lstStyle>
            <a:lvl1pPr>
              <a:defRPr sz="2800" b="1" i="0">
                <a:solidFill>
                  <a:srgbClr val="4B545B"/>
                </a:solidFill>
                <a:latin typeface="+mn-lt"/>
                <a:cs typeface="Arial" panose="020B0604020202020204" pitchFamily="34" charset="0"/>
              </a:defRPr>
            </a:lvl1pPr>
          </a:lstStyle>
          <a:p>
            <a:r>
              <a:rPr lang="en-US"/>
              <a:t>Click to edit Master title style</a:t>
            </a:r>
          </a:p>
        </p:txBody>
      </p:sp>
      <p:sp>
        <p:nvSpPr>
          <p:cNvPr id="16" name="Content Placeholder 2">
            <a:extLst>
              <a:ext uri="{FF2B5EF4-FFF2-40B4-BE49-F238E27FC236}">
                <a16:creationId xmlns:a16="http://schemas.microsoft.com/office/drawing/2014/main" id="{7098C026-E8D4-4D85-A22C-80D753270CEE}"/>
              </a:ext>
            </a:extLst>
          </p:cNvPr>
          <p:cNvSpPr>
            <a:spLocks noGrp="1"/>
          </p:cNvSpPr>
          <p:nvPr>
            <p:ph idx="10"/>
          </p:nvPr>
        </p:nvSpPr>
        <p:spPr>
          <a:xfrm>
            <a:off x="6096000" y="1416725"/>
            <a:ext cx="4649725" cy="4995835"/>
          </a:xfrm>
          <a:prstGeom prst="rect">
            <a:avLst/>
          </a:prstGeom>
        </p:spPr>
        <p:txBody>
          <a:bodyPr>
            <a:normAutofit/>
          </a:bodyPr>
          <a:lstStyle>
            <a:lvl1pPr marL="0" indent="0">
              <a:buClr>
                <a:srgbClr val="093552"/>
              </a:buClr>
              <a:buSzPct val="80000"/>
              <a:buNone/>
              <a:defRPr sz="2400" b="1">
                <a:solidFill>
                  <a:schemeClr val="bg1"/>
                </a:solidFill>
                <a:latin typeface="+mn-lt"/>
                <a:cs typeface="Arial" panose="020B0604020202020204" pitchFamily="34" charset="0"/>
              </a:defRPr>
            </a:lvl1pPr>
            <a:lvl2pPr>
              <a:buClr>
                <a:schemeClr val="bg1"/>
              </a:buClr>
              <a:buSzPct val="80000"/>
              <a:defRPr sz="2000">
                <a:solidFill>
                  <a:schemeClr val="bg1"/>
                </a:solidFill>
                <a:latin typeface="+mn-lt"/>
                <a:cs typeface="Arial" panose="020B0604020202020204" pitchFamily="34" charset="0"/>
              </a:defRPr>
            </a:lvl2pPr>
            <a:lvl3pPr>
              <a:buClr>
                <a:schemeClr val="bg1"/>
              </a:buClr>
              <a:buSzPct val="80000"/>
              <a:defRPr sz="1800">
                <a:solidFill>
                  <a:schemeClr val="bg1"/>
                </a:solidFill>
                <a:latin typeface="+mn-lt"/>
                <a:cs typeface="Arial" panose="020B0604020202020204" pitchFamily="34" charset="0"/>
              </a:defRPr>
            </a:lvl3pPr>
            <a:lvl4pPr>
              <a:buClr>
                <a:srgbClr val="6CADDF"/>
              </a:buClr>
              <a:buSzPct val="80000"/>
              <a:defRPr sz="1600">
                <a:solidFill>
                  <a:srgbClr val="093552"/>
                </a:solidFill>
                <a:latin typeface="Arial" panose="020B0604020202020204" pitchFamily="34" charset="0"/>
                <a:cs typeface="Arial" panose="020B0604020202020204" pitchFamily="34" charset="0"/>
              </a:defRPr>
            </a:lvl4pPr>
            <a:lvl5pPr>
              <a:buClr>
                <a:srgbClr val="6CADDF"/>
              </a:buClr>
              <a:buSzPct val="80000"/>
              <a:defRPr sz="1600">
                <a:solidFill>
                  <a:srgbClr val="09355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pic>
        <p:nvPicPr>
          <p:cNvPr id="2" name="Picture 1">
            <a:extLst>
              <a:ext uri="{FF2B5EF4-FFF2-40B4-BE49-F238E27FC236}">
                <a16:creationId xmlns:a16="http://schemas.microsoft.com/office/drawing/2014/main" id="{E7D4FD47-481A-4624-90C3-B594AFE3796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80479" y="6458935"/>
            <a:ext cx="1678009" cy="344491"/>
          </a:xfrm>
          <a:prstGeom prst="rect">
            <a:avLst/>
          </a:prstGeom>
        </p:spPr>
      </p:pic>
      <p:cxnSp>
        <p:nvCxnSpPr>
          <p:cNvPr id="17" name="Straight Connector 16">
            <a:extLst>
              <a:ext uri="{FF2B5EF4-FFF2-40B4-BE49-F238E27FC236}">
                <a16:creationId xmlns:a16="http://schemas.microsoft.com/office/drawing/2014/main" id="{D988A843-91EF-48DF-A156-C1593678D68C}"/>
              </a:ext>
            </a:extLst>
          </p:cNvPr>
          <p:cNvCxnSpPr/>
          <p:nvPr userDrawn="1"/>
        </p:nvCxnSpPr>
        <p:spPr>
          <a:xfrm>
            <a:off x="414794" y="1181379"/>
            <a:ext cx="1594216" cy="0"/>
          </a:xfrm>
          <a:prstGeom prst="line">
            <a:avLst/>
          </a:prstGeom>
          <a:ln w="12700">
            <a:solidFill>
              <a:srgbClr val="B0DFD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23836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02912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51186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32167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12713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w/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7446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Tree>
    <p:extLst>
      <p:ext uri="{BB962C8B-B14F-4D97-AF65-F5344CB8AC3E}">
        <p14:creationId xmlns:p14="http://schemas.microsoft.com/office/powerpoint/2010/main" val="25328108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i="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r>
              <a:rPr lang="en-US" noProof="0"/>
              <a:t>Drag picture to placeholder or click icon to add</a:t>
            </a:r>
          </a:p>
        </p:txBody>
      </p:sp>
    </p:spTree>
    <p:extLst>
      <p:ext uri="{BB962C8B-B14F-4D97-AF65-F5344CB8AC3E}">
        <p14:creationId xmlns:p14="http://schemas.microsoft.com/office/powerpoint/2010/main" val="10898460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 No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endParaRPr lang="en-US"/>
          </a:p>
        </p:txBody>
      </p:sp>
      <p:sp>
        <p:nvSpPr>
          <p:cNvPr id="6" name="Line 6"/>
          <p:cNvSpPr>
            <a:spLocks noChangeShapeType="1"/>
          </p:cNvSpPr>
          <p:nvPr userDrawn="1"/>
        </p:nvSpPr>
        <p:spPr bwMode="auto">
          <a:xfrm>
            <a:off x="609600" y="1479311"/>
            <a:ext cx="10972800" cy="0"/>
          </a:xfrm>
          <a:prstGeom prst="line">
            <a:avLst/>
          </a:prstGeom>
          <a:noFill/>
          <a:ln w="25400">
            <a:solidFill>
              <a:srgbClr val="0039A6"/>
            </a:solidFill>
            <a:round/>
            <a:headEnd/>
            <a:tailEnd/>
          </a:ln>
        </p:spPr>
        <p:txBody>
          <a:bodyPr wrap="none" anchor="ctr"/>
          <a:lstStyle/>
          <a:p>
            <a:pPr fontAlgn="base">
              <a:spcBef>
                <a:spcPct val="0"/>
              </a:spcBef>
              <a:spcAft>
                <a:spcPct val="0"/>
              </a:spcAft>
            </a:pPr>
            <a:endParaRPr lang="en-US" sz="2400">
              <a:ln>
                <a:solidFill>
                  <a:srgbClr val="002060">
                    <a:lumMod val="50000"/>
                    <a:lumOff val="50000"/>
                  </a:srgbClr>
                </a:solidFill>
              </a:ln>
              <a:solidFill>
                <a:srgbClr val="0F56DC"/>
              </a:solidFill>
              <a:latin typeface="Arial" charset="0"/>
            </a:endParaRPr>
          </a:p>
        </p:txBody>
      </p:sp>
      <p:pic>
        <p:nvPicPr>
          <p:cNvPr id="10" name="Picture 9">
            <a:extLst>
              <a:ext uri="{FF2B5EF4-FFF2-40B4-BE49-F238E27FC236}">
                <a16:creationId xmlns:a16="http://schemas.microsoft.com/office/drawing/2014/main" id="{88C037DF-7A86-4345-9EEF-B576C59931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42" b="-5052"/>
          <a:stretch/>
        </p:blipFill>
        <p:spPr>
          <a:xfrm>
            <a:off x="-1" y="6684596"/>
            <a:ext cx="12192001" cy="248992"/>
          </a:xfrm>
          <a:prstGeom prst="rect">
            <a:avLst/>
          </a:prstGeom>
        </p:spPr>
      </p:pic>
      <p:pic>
        <p:nvPicPr>
          <p:cNvPr id="11" name="Picture 10">
            <a:extLst>
              <a:ext uri="{FF2B5EF4-FFF2-40B4-BE49-F238E27FC236}">
                <a16:creationId xmlns:a16="http://schemas.microsoft.com/office/drawing/2014/main" id="{95A97CB2-1780-46E0-B16D-5016ADD9C336}"/>
              </a:ext>
            </a:extLst>
          </p:cNvPr>
          <p:cNvPicPr>
            <a:picLocks noChangeAspect="1"/>
          </p:cNvPicPr>
          <p:nvPr userDrawn="1"/>
        </p:nvPicPr>
        <p:blipFill rotWithShape="1">
          <a:blip r:embed="rId3"/>
          <a:srcRect l="10000" r="4917" b="-2800"/>
          <a:stretch/>
        </p:blipFill>
        <p:spPr>
          <a:xfrm>
            <a:off x="909320" y="6550354"/>
            <a:ext cx="10373360" cy="186509"/>
          </a:xfrm>
          <a:prstGeom prst="rect">
            <a:avLst/>
          </a:prstGeom>
        </p:spPr>
      </p:pic>
      <p:sp>
        <p:nvSpPr>
          <p:cNvPr id="12" name="TextBox 11">
            <a:extLst>
              <a:ext uri="{FF2B5EF4-FFF2-40B4-BE49-F238E27FC236}">
                <a16:creationId xmlns:a16="http://schemas.microsoft.com/office/drawing/2014/main" id="{39A6D598-58A0-49F0-A1D9-D430CD202763}"/>
              </a:ext>
            </a:extLst>
          </p:cNvPr>
          <p:cNvSpPr txBox="1"/>
          <p:nvPr userDrawn="1"/>
        </p:nvSpPr>
        <p:spPr>
          <a:xfrm>
            <a:off x="11725206" y="6326493"/>
            <a:ext cx="466794" cy="379656"/>
          </a:xfrm>
          <a:prstGeom prst="rect">
            <a:avLst/>
          </a:prstGeom>
          <a:noFill/>
        </p:spPr>
        <p:txBody>
          <a:bodyPr wrap="none" rtlCol="0">
            <a:spAutoFit/>
          </a:bodyPr>
          <a:lstStyle/>
          <a:p>
            <a:pPr algn="r"/>
            <a:fld id="{16C56A00-B67A-4726-B07D-3A7D659B2E50}" type="slidenum">
              <a:rPr lang="en-US" sz="1867" smtClean="0">
                <a:solidFill>
                  <a:srgbClr val="000000"/>
                </a:solidFill>
                <a:latin typeface="Calibri" panose="020F0502020204030204" pitchFamily="34" charset="0"/>
              </a:rPr>
              <a:pPr algn="r"/>
              <a:t>‹#›</a:t>
            </a:fld>
            <a:endParaRPr lang="en-US" sz="1867">
              <a:solidFill>
                <a:srgbClr val="000000"/>
              </a:solidFill>
              <a:latin typeface="Calibri" panose="020F0502020204030204" pitchFamily="34" charset="0"/>
            </a:endParaRPr>
          </a:p>
        </p:txBody>
      </p:sp>
    </p:spTree>
    <p:extLst>
      <p:ext uri="{BB962C8B-B14F-4D97-AF65-F5344CB8AC3E}">
        <p14:creationId xmlns:p14="http://schemas.microsoft.com/office/powerpoint/2010/main" val="28633981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1E974-2A7F-C586-6E81-4CCC34ED87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0435512-7743-CF3B-8BCC-5E1AD01D34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75EC6B4-2E8C-659F-11BC-C4EF08799283}"/>
              </a:ext>
            </a:extLst>
          </p:cNvPr>
          <p:cNvSpPr>
            <a:spLocks noGrp="1"/>
          </p:cNvSpPr>
          <p:nvPr>
            <p:ph type="dt" sz="half" idx="10"/>
          </p:nvPr>
        </p:nvSpPr>
        <p:spPr/>
        <p:txBody>
          <a:bodyPr/>
          <a:lstStyle/>
          <a:p>
            <a:fld id="{A4DFAF99-672D-4536-B69E-619E30BDF832}" type="datetimeFigureOut">
              <a:rPr lang="en-US" smtClean="0"/>
              <a:t>8/27/2024</a:t>
            </a:fld>
            <a:endParaRPr lang="en-US"/>
          </a:p>
        </p:txBody>
      </p:sp>
      <p:sp>
        <p:nvSpPr>
          <p:cNvPr id="5" name="Footer Placeholder 4">
            <a:extLst>
              <a:ext uri="{FF2B5EF4-FFF2-40B4-BE49-F238E27FC236}">
                <a16:creationId xmlns:a16="http://schemas.microsoft.com/office/drawing/2014/main" id="{07FAA3F5-7FD8-A836-6225-A30151F146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A851DB-41D8-82B2-BEED-658AF54749F6}"/>
              </a:ext>
            </a:extLst>
          </p:cNvPr>
          <p:cNvSpPr>
            <a:spLocks noGrp="1"/>
          </p:cNvSpPr>
          <p:nvPr>
            <p:ph type="sldNum" sz="quarter" idx="12"/>
          </p:nvPr>
        </p:nvSpPr>
        <p:spPr/>
        <p:txBody>
          <a:bodyPr/>
          <a:lstStyle/>
          <a:p>
            <a:fld id="{C7692B91-5C3A-407C-8D38-F29469363295}" type="slidenum">
              <a:rPr lang="en-US" smtClean="0"/>
              <a:t>‹#›</a:t>
            </a:fld>
            <a:endParaRPr lang="en-US"/>
          </a:p>
        </p:txBody>
      </p:sp>
    </p:spTree>
    <p:extLst>
      <p:ext uri="{BB962C8B-B14F-4D97-AF65-F5344CB8AC3E}">
        <p14:creationId xmlns:p14="http://schemas.microsoft.com/office/powerpoint/2010/main" val="2181859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0" y="5680442"/>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000000"/>
                </a:solidFill>
                <a:latin typeface="Calibri" panose="020F0502020204030204" pitchFamily="34" charset="0"/>
              </a:rPr>
              <a:t>For more information, contact CDC Emergency Operations Center</a:t>
            </a:r>
            <a:br>
              <a:rPr lang="en-US" sz="1600">
                <a:solidFill>
                  <a:srgbClr val="000000"/>
                </a:solidFill>
                <a:latin typeface="Calibri" panose="020F0502020204030204" pitchFamily="34" charset="0"/>
              </a:rPr>
            </a:br>
            <a:r>
              <a:rPr lang="en-US" sz="1600">
                <a:solidFill>
                  <a:srgbClr val="000000"/>
                </a:solidFill>
                <a:latin typeface="Calibri" panose="020F0502020204030204" pitchFamily="34" charset="0"/>
              </a:rPr>
              <a:t>770-488-7100</a:t>
            </a:r>
            <a:br>
              <a:rPr lang="en-US" sz="1600">
                <a:solidFill>
                  <a:srgbClr val="000000"/>
                </a:solidFill>
                <a:latin typeface="Calibri" panose="020F0502020204030204" pitchFamily="34" charset="0"/>
              </a:rPr>
            </a:br>
            <a:r>
              <a:rPr lang="en-US" sz="1600">
                <a:solidFill>
                  <a:srgbClr val="000000"/>
                </a:solidFill>
                <a:latin typeface="Calibri" panose="020F0502020204030204" pitchFamily="34" charset="0"/>
              </a:rPr>
              <a:t>www.cdc.gov</a:t>
            </a:r>
            <a:br>
              <a:rPr lang="en-US" sz="1600">
                <a:solidFill>
                  <a:srgbClr val="000000"/>
                </a:solidFill>
                <a:latin typeface="Calibri" panose="020F0502020204030204" pitchFamily="34" charset="0"/>
              </a:rPr>
            </a:br>
            <a:br>
              <a:rPr lang="en-US" sz="1600">
                <a:solidFill>
                  <a:srgbClr val="695E4A"/>
                </a:solidFill>
                <a:latin typeface="Calibri" panose="020F0502020204030204" pitchFamily="34" charset="0"/>
              </a:rPr>
            </a:br>
            <a:br>
              <a:rPr lang="en-US" sz="1600">
                <a:solidFill>
                  <a:srgbClr val="695E4A"/>
                </a:solidFill>
                <a:latin typeface="Calibri" panose="020F0502020204030204" pitchFamily="34" charset="0"/>
              </a:rPr>
            </a:br>
            <a:r>
              <a:rPr lang="en-US" sz="1600">
                <a:solidFill>
                  <a:srgbClr val="000000"/>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299077699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0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8603" y="544597"/>
            <a:ext cx="10972800" cy="689803"/>
          </a:xfrm>
          <a:prstGeom prst="rect">
            <a:avLst/>
          </a:prstGeom>
        </p:spPr>
        <p:txBody>
          <a:bodyPr anchor="b" anchorCtr="0"/>
          <a:lstStyle>
            <a:lvl1pPr algn="l">
              <a:lnSpc>
                <a:spcPts val="4000"/>
              </a:lnSpc>
              <a:defRPr sz="3200" b="0" baseline="0">
                <a:solidFill>
                  <a:srgbClr val="1B4977"/>
                </a:solidFill>
                <a:effectLst/>
                <a:latin typeface="DIN Mittelschrift Std" panose="00000500000000000000" pitchFamily="50" charset="0"/>
              </a:defRPr>
            </a:lvl1pPr>
          </a:lstStyle>
          <a:p>
            <a:r>
              <a:rPr lang="en-US"/>
              <a:t>Slide Heading</a:t>
            </a:r>
          </a:p>
        </p:txBody>
      </p:sp>
      <p:sp>
        <p:nvSpPr>
          <p:cNvPr id="7" name="Text Placeholder 7"/>
          <p:cNvSpPr>
            <a:spLocks noGrp="1"/>
          </p:cNvSpPr>
          <p:nvPr>
            <p:ph type="body" sz="quarter" idx="10"/>
          </p:nvPr>
        </p:nvSpPr>
        <p:spPr>
          <a:xfrm>
            <a:off x="609600" y="1239081"/>
            <a:ext cx="10972800" cy="4761671"/>
          </a:xfrm>
        </p:spPr>
        <p:txBody>
          <a:bodyPr/>
          <a:lstStyle>
            <a:lvl1pPr marL="457189" indent="-457189">
              <a:buClr>
                <a:srgbClr val="D31C31"/>
              </a:buClr>
              <a:buFont typeface="Wingdings" panose="05000000000000000000" pitchFamily="2" charset="2"/>
              <a:buChar char="§"/>
              <a:defRPr sz="2667">
                <a:solidFill>
                  <a:srgbClr val="1B4977"/>
                </a:solidFill>
              </a:defRPr>
            </a:lvl1pPr>
            <a:lvl2pPr>
              <a:buClr>
                <a:srgbClr val="62895D"/>
              </a:buClr>
              <a:defRPr sz="2667">
                <a:solidFill>
                  <a:srgbClr val="1B4977"/>
                </a:solidFill>
              </a:defRPr>
            </a:lvl2pPr>
            <a:lvl3pPr>
              <a:buClr>
                <a:srgbClr val="006A71"/>
              </a:buClr>
              <a:defRPr sz="2667">
                <a:solidFill>
                  <a:srgbClr val="1B4977"/>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5" name="Group 4"/>
          <p:cNvGrpSpPr/>
          <p:nvPr userDrawn="1"/>
        </p:nvGrpSpPr>
        <p:grpSpPr>
          <a:xfrm>
            <a:off x="-1310" y="6627538"/>
            <a:ext cx="12193311" cy="230463"/>
            <a:chOff x="-983" y="723331"/>
            <a:chExt cx="9144983" cy="225188"/>
          </a:xfrm>
        </p:grpSpPr>
        <p:sp>
          <p:nvSpPr>
            <p:cNvPr id="6" name="Rectangle 5"/>
            <p:cNvSpPr/>
            <p:nvPr userDrawn="1"/>
          </p:nvSpPr>
          <p:spPr>
            <a:xfrm>
              <a:off x="-983" y="723331"/>
              <a:ext cx="1524164" cy="225188"/>
            </a:xfrm>
            <a:prstGeom prst="rect">
              <a:avLst/>
            </a:prstGeom>
            <a:solidFill>
              <a:srgbClr val="1B4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ectangle 7"/>
            <p:cNvSpPr/>
            <p:nvPr userDrawn="1"/>
          </p:nvSpPr>
          <p:spPr>
            <a:xfrm>
              <a:off x="1523181" y="723331"/>
              <a:ext cx="1524164" cy="225188"/>
            </a:xfrm>
            <a:prstGeom prst="rect">
              <a:avLst/>
            </a:prstGeom>
            <a:solidFill>
              <a:srgbClr val="D31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p:cNvSpPr/>
            <p:nvPr userDrawn="1"/>
          </p:nvSpPr>
          <p:spPr>
            <a:xfrm>
              <a:off x="3047345" y="723331"/>
              <a:ext cx="1524164" cy="225188"/>
            </a:xfrm>
            <a:prstGeom prst="rect">
              <a:avLst/>
            </a:prstGeom>
            <a:solidFill>
              <a:srgbClr val="DE5A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p:cNvSpPr/>
            <p:nvPr userDrawn="1"/>
          </p:nvSpPr>
          <p:spPr>
            <a:xfrm>
              <a:off x="4571509" y="723331"/>
              <a:ext cx="1524164" cy="225188"/>
            </a:xfrm>
            <a:prstGeom prst="rect">
              <a:avLst/>
            </a:prstGeom>
            <a:solidFill>
              <a:srgbClr val="5D5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Rectangle 10"/>
            <p:cNvSpPr/>
            <p:nvPr userDrawn="1"/>
          </p:nvSpPr>
          <p:spPr>
            <a:xfrm>
              <a:off x="6095672" y="723331"/>
              <a:ext cx="1524164" cy="225188"/>
            </a:xfrm>
            <a:prstGeom prst="rect">
              <a:avLst/>
            </a:prstGeom>
            <a:solidFill>
              <a:srgbClr val="BAA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Rectangle 11"/>
            <p:cNvSpPr/>
            <p:nvPr userDrawn="1"/>
          </p:nvSpPr>
          <p:spPr>
            <a:xfrm>
              <a:off x="7619836" y="723331"/>
              <a:ext cx="1524164" cy="225188"/>
            </a:xfrm>
            <a:prstGeom prst="rect">
              <a:avLst/>
            </a:prstGeom>
            <a:solidFill>
              <a:srgbClr val="6289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5" name="Rectangle 14"/>
          <p:cNvSpPr/>
          <p:nvPr userDrawn="1"/>
        </p:nvSpPr>
        <p:spPr>
          <a:xfrm>
            <a:off x="-8646" y="0"/>
            <a:ext cx="12200647" cy="629483"/>
          </a:xfrm>
          <a:prstGeom prst="rect">
            <a:avLst/>
          </a:prstGeom>
          <a:blipFill>
            <a:blip r:embed="rId2" cstate="screen">
              <a:extLst>
                <a:ext uri="{28A0092B-C50C-407E-A947-70E740481C1C}">
                  <a14:useLocalDpi xmlns:a14="http://schemas.microsoft.com/office/drawing/2010/main"/>
                </a:ext>
              </a:extLst>
            </a:blip>
            <a:srcRect/>
            <a:stretch>
              <a:fillRect l="8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4" name="Straight Connector 3">
            <a:extLst>
              <a:ext uri="{FF2B5EF4-FFF2-40B4-BE49-F238E27FC236}">
                <a16:creationId xmlns:a16="http://schemas.microsoft.com/office/drawing/2014/main" id="{3316CED5-A6A7-B972-CA59-1BF76623A7D2}"/>
              </a:ext>
            </a:extLst>
          </p:cNvPr>
          <p:cNvCxnSpPr/>
          <p:nvPr userDrawn="1"/>
        </p:nvCxnSpPr>
        <p:spPr>
          <a:xfrm>
            <a:off x="0" y="629483"/>
            <a:ext cx="12192000" cy="0"/>
          </a:xfrm>
          <a:prstGeom prst="line">
            <a:avLst/>
          </a:prstGeom>
          <a:ln w="28575">
            <a:solidFill>
              <a:srgbClr val="BAA23C"/>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EF073C22-7599-E3B1-5E86-72FA3D33EAF6}"/>
              </a:ext>
            </a:extLst>
          </p:cNvPr>
          <p:cNvCxnSpPr/>
          <p:nvPr userDrawn="1"/>
        </p:nvCxnSpPr>
        <p:spPr>
          <a:xfrm>
            <a:off x="-4233" y="6616940"/>
            <a:ext cx="12192000" cy="0"/>
          </a:xfrm>
          <a:prstGeom prst="line">
            <a:avLst/>
          </a:prstGeom>
          <a:ln w="28575">
            <a:solidFill>
              <a:srgbClr val="BAA23C"/>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F9EA851-0A2E-4D7F-0A06-DCB67A331C17}"/>
              </a:ext>
            </a:extLst>
          </p:cNvPr>
          <p:cNvCxnSpPr>
            <a:cxnSpLocks/>
          </p:cNvCxnSpPr>
          <p:nvPr userDrawn="1"/>
        </p:nvCxnSpPr>
        <p:spPr>
          <a:xfrm flipH="1">
            <a:off x="2923" y="650648"/>
            <a:ext cx="12781" cy="5974080"/>
          </a:xfrm>
          <a:prstGeom prst="line">
            <a:avLst/>
          </a:prstGeom>
          <a:ln w="28575">
            <a:solidFill>
              <a:srgbClr val="BAA23C"/>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004DAE4-4433-BB0C-0AF4-65A4F0236D9A}"/>
              </a:ext>
            </a:extLst>
          </p:cNvPr>
          <p:cNvCxnSpPr>
            <a:cxnSpLocks/>
          </p:cNvCxnSpPr>
          <p:nvPr userDrawn="1"/>
        </p:nvCxnSpPr>
        <p:spPr>
          <a:xfrm flipH="1">
            <a:off x="12176296" y="621608"/>
            <a:ext cx="12781" cy="5974080"/>
          </a:xfrm>
          <a:prstGeom prst="line">
            <a:avLst/>
          </a:prstGeom>
          <a:ln w="28575">
            <a:solidFill>
              <a:srgbClr val="BAA23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69708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1"/>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594" lvl="0" indent="-228594">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7" y="344424"/>
            <a:ext cx="4703575" cy="176869"/>
          </a:xfrm>
        </p:spPr>
        <p:txBody>
          <a:bodyPr vert="horz" lIns="0" tIns="0" rIns="0" bIns="0" rtlCol="0">
            <a:noAutofit/>
          </a:bodyPr>
          <a:lstStyle>
            <a:lvl1pPr marL="0" indent="0">
              <a:buNone/>
              <a:defRPr lang="en-US" sz="900" b="1" kern="0" cap="all" spc="251" baseline="0" dirty="0">
                <a:solidFill>
                  <a:schemeClr val="tx1">
                    <a:lumMod val="50000"/>
                    <a:lumOff val="50000"/>
                  </a:schemeClr>
                </a:solidFill>
                <a:ea typeface="Nexa Black" charset="0"/>
                <a:cs typeface="Nexa Black" charset="0"/>
              </a:defRPr>
            </a:lvl1pPr>
          </a:lstStyle>
          <a:p>
            <a:pPr marL="228594" lvl="0" indent="-228594"/>
            <a:r>
              <a:rPr lang="en-US"/>
              <a:t>BREADCRUMBS</a:t>
            </a:r>
          </a:p>
        </p:txBody>
      </p:sp>
    </p:spTree>
    <p:extLst>
      <p:ext uri="{BB962C8B-B14F-4D97-AF65-F5344CB8AC3E}">
        <p14:creationId xmlns:p14="http://schemas.microsoft.com/office/powerpoint/2010/main" val="65350337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2">
    <p:bg>
      <p:bgPr>
        <a:solidFill>
          <a:schemeClr val="accent6">
            <a:lumMod val="60000"/>
            <a:lumOff val="40000"/>
          </a:schemeClr>
        </a:solidFill>
        <a:effectLst/>
      </p:bgPr>
    </p:bg>
    <p:spTree>
      <p:nvGrpSpPr>
        <p:cNvPr id="1" name=""/>
        <p:cNvGrpSpPr/>
        <p:nvPr/>
      </p:nvGrpSpPr>
      <p:grpSpPr>
        <a:xfrm>
          <a:off x="0" y="0"/>
          <a:ext cx="0" cy="0"/>
          <a:chOff x="0" y="0"/>
          <a:chExt cx="0" cy="0"/>
        </a:xfrm>
      </p:grpSpPr>
      <p:pic>
        <p:nvPicPr>
          <p:cNvPr id="26" name="Graphic 25">
            <a:extLst>
              <a:ext uri="{FF2B5EF4-FFF2-40B4-BE49-F238E27FC236}">
                <a16:creationId xmlns:a16="http://schemas.microsoft.com/office/drawing/2014/main" id="{E1BC9BFE-80C0-4DA9-92DB-070C41E412B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8097646">
            <a:off x="403103" y="-983359"/>
            <a:ext cx="2029968" cy="2029968"/>
          </a:xfrm>
          <a:prstGeom prst="rect">
            <a:avLst/>
          </a:prstGeom>
        </p:spPr>
      </p:pic>
      <p:sp>
        <p:nvSpPr>
          <p:cNvPr id="8" name="Rectangle 23">
            <a:extLst>
              <a:ext uri="{FF2B5EF4-FFF2-40B4-BE49-F238E27FC236}">
                <a16:creationId xmlns:a16="http://schemas.microsoft.com/office/drawing/2014/main" id="{F5ED01E4-35BF-4165-86B2-E3BDFD91DEE3}"/>
              </a:ext>
              <a:ext uri="{C183D7F6-B498-43B3-948B-1728B52AA6E4}">
                <adec:decorative xmlns:adec="http://schemas.microsoft.com/office/drawing/2017/decorative" val="1"/>
              </a:ext>
            </a:extLst>
          </p:cNvPr>
          <p:cNvSpPr/>
          <p:nvPr userDrawn="1"/>
        </p:nvSpPr>
        <p:spPr>
          <a:xfrm rot="13508190">
            <a:off x="-1025089" y="458228"/>
            <a:ext cx="2029968" cy="2029968"/>
          </a:xfrm>
          <a:custGeom>
            <a:avLst/>
            <a:gdLst>
              <a:gd name="connsiteX0" fmla="*/ 0 w 2029968"/>
              <a:gd name="connsiteY0" fmla="*/ 0 h 2029968"/>
              <a:gd name="connsiteX1" fmla="*/ 2029968 w 2029968"/>
              <a:gd name="connsiteY1" fmla="*/ 0 h 2029968"/>
              <a:gd name="connsiteX2" fmla="*/ 2029968 w 2029968"/>
              <a:gd name="connsiteY2" fmla="*/ 2029968 h 2029968"/>
              <a:gd name="connsiteX3" fmla="*/ 0 w 2029968"/>
              <a:gd name="connsiteY3" fmla="*/ 2029968 h 2029968"/>
              <a:gd name="connsiteX4" fmla="*/ 0 w 2029968"/>
              <a:gd name="connsiteY4" fmla="*/ 0 h 2029968"/>
              <a:gd name="connsiteX0" fmla="*/ 0 w 2029968"/>
              <a:gd name="connsiteY0" fmla="*/ 0 h 2029968"/>
              <a:gd name="connsiteX1" fmla="*/ 2029968 w 2029968"/>
              <a:gd name="connsiteY1" fmla="*/ 2029968 h 2029968"/>
              <a:gd name="connsiteX2" fmla="*/ 0 w 2029968"/>
              <a:gd name="connsiteY2" fmla="*/ 2029968 h 2029968"/>
              <a:gd name="connsiteX3" fmla="*/ 0 w 2029968"/>
              <a:gd name="connsiteY3" fmla="*/ 0 h 2029968"/>
            </a:gdLst>
            <a:ahLst/>
            <a:cxnLst>
              <a:cxn ang="0">
                <a:pos x="connsiteX0" y="connsiteY0"/>
              </a:cxn>
              <a:cxn ang="0">
                <a:pos x="connsiteX1" y="connsiteY1"/>
              </a:cxn>
              <a:cxn ang="0">
                <a:pos x="connsiteX2" y="connsiteY2"/>
              </a:cxn>
              <a:cxn ang="0">
                <a:pos x="connsiteX3" y="connsiteY3"/>
              </a:cxn>
            </a:cxnLst>
            <a:rect l="l" t="t" r="r" b="b"/>
            <a:pathLst>
              <a:path w="2029968" h="2029968">
                <a:moveTo>
                  <a:pt x="0" y="0"/>
                </a:moveTo>
                <a:lnTo>
                  <a:pt x="2029968" y="2029968"/>
                </a:lnTo>
                <a:lnTo>
                  <a:pt x="0" y="202996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9" name="Graphic 8">
            <a:extLst>
              <a:ext uri="{FF2B5EF4-FFF2-40B4-BE49-F238E27FC236}">
                <a16:creationId xmlns:a16="http://schemas.microsoft.com/office/drawing/2014/main" id="{B7E6DD28-C71B-4484-973A-D12A27730009}"/>
              </a:ext>
              <a:ext uri="{C183D7F6-B498-43B3-948B-1728B52AA6E4}">
                <adec:decorative xmlns:adec="http://schemas.microsoft.com/office/drawing/2017/decorative" val="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8902533">
            <a:off x="407892" y="1900475"/>
            <a:ext cx="2029968" cy="2029968"/>
          </a:xfrm>
          <a:prstGeom prst="rect">
            <a:avLst/>
          </a:prstGeom>
        </p:spPr>
      </p:pic>
      <p:sp>
        <p:nvSpPr>
          <p:cNvPr id="11" name="Rectangle 23">
            <a:extLst>
              <a:ext uri="{FF2B5EF4-FFF2-40B4-BE49-F238E27FC236}">
                <a16:creationId xmlns:a16="http://schemas.microsoft.com/office/drawing/2014/main" id="{AB403917-256D-4254-A12F-F8BD19470C42}"/>
              </a:ext>
              <a:ext uri="{C183D7F6-B498-43B3-948B-1728B52AA6E4}">
                <adec:decorative xmlns:adec="http://schemas.microsoft.com/office/drawing/2017/decorative" val="1"/>
              </a:ext>
            </a:extLst>
          </p:cNvPr>
          <p:cNvSpPr/>
          <p:nvPr userDrawn="1"/>
        </p:nvSpPr>
        <p:spPr>
          <a:xfrm rot="18900000">
            <a:off x="413443" y="1923515"/>
            <a:ext cx="2029968" cy="2029968"/>
          </a:xfrm>
          <a:custGeom>
            <a:avLst/>
            <a:gdLst>
              <a:gd name="connsiteX0" fmla="*/ 0 w 2029968"/>
              <a:gd name="connsiteY0" fmla="*/ 0 h 2029968"/>
              <a:gd name="connsiteX1" fmla="*/ 2029968 w 2029968"/>
              <a:gd name="connsiteY1" fmla="*/ 0 h 2029968"/>
              <a:gd name="connsiteX2" fmla="*/ 2029968 w 2029968"/>
              <a:gd name="connsiteY2" fmla="*/ 2029968 h 2029968"/>
              <a:gd name="connsiteX3" fmla="*/ 0 w 2029968"/>
              <a:gd name="connsiteY3" fmla="*/ 2029968 h 2029968"/>
              <a:gd name="connsiteX4" fmla="*/ 0 w 2029968"/>
              <a:gd name="connsiteY4" fmla="*/ 0 h 2029968"/>
              <a:gd name="connsiteX0" fmla="*/ 0 w 2029968"/>
              <a:gd name="connsiteY0" fmla="*/ 0 h 2029968"/>
              <a:gd name="connsiteX1" fmla="*/ 2029968 w 2029968"/>
              <a:gd name="connsiteY1" fmla="*/ 2029968 h 2029968"/>
              <a:gd name="connsiteX2" fmla="*/ 0 w 2029968"/>
              <a:gd name="connsiteY2" fmla="*/ 2029968 h 2029968"/>
              <a:gd name="connsiteX3" fmla="*/ 0 w 2029968"/>
              <a:gd name="connsiteY3" fmla="*/ 0 h 2029968"/>
            </a:gdLst>
            <a:ahLst/>
            <a:cxnLst>
              <a:cxn ang="0">
                <a:pos x="connsiteX0" y="connsiteY0"/>
              </a:cxn>
              <a:cxn ang="0">
                <a:pos x="connsiteX1" y="connsiteY1"/>
              </a:cxn>
              <a:cxn ang="0">
                <a:pos x="connsiteX2" y="connsiteY2"/>
              </a:cxn>
              <a:cxn ang="0">
                <a:pos x="connsiteX3" y="connsiteY3"/>
              </a:cxn>
            </a:cxnLst>
            <a:rect l="l" t="t" r="r" b="b"/>
            <a:pathLst>
              <a:path w="2029968" h="2029968">
                <a:moveTo>
                  <a:pt x="0" y="0"/>
                </a:moveTo>
                <a:lnTo>
                  <a:pt x="2029968" y="2029968"/>
                </a:lnTo>
                <a:lnTo>
                  <a:pt x="0" y="202996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12" name="Graphic 11">
            <a:extLst>
              <a:ext uri="{FF2B5EF4-FFF2-40B4-BE49-F238E27FC236}">
                <a16:creationId xmlns:a16="http://schemas.microsoft.com/office/drawing/2014/main" id="{EB06A536-5FCB-4761-9EFF-D54BE44B1FD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2708786">
            <a:off x="-1021285" y="3355869"/>
            <a:ext cx="2029968" cy="2029968"/>
          </a:xfrm>
          <a:prstGeom prst="rect">
            <a:avLst/>
          </a:prstGeom>
        </p:spPr>
      </p:pic>
      <p:pic>
        <p:nvPicPr>
          <p:cNvPr id="13" name="Graphic 12">
            <a:extLst>
              <a:ext uri="{FF2B5EF4-FFF2-40B4-BE49-F238E27FC236}">
                <a16:creationId xmlns:a16="http://schemas.microsoft.com/office/drawing/2014/main" id="{3B73C61F-3D48-4791-8280-D98D2C01E0C1}"/>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13489227">
            <a:off x="1859807" y="3357927"/>
            <a:ext cx="2029968" cy="2029968"/>
          </a:xfrm>
          <a:prstGeom prst="rect">
            <a:avLst/>
          </a:prstGeom>
        </p:spPr>
      </p:pic>
      <p:grpSp>
        <p:nvGrpSpPr>
          <p:cNvPr id="21" name="Group 20">
            <a:extLst>
              <a:ext uri="{FF2B5EF4-FFF2-40B4-BE49-F238E27FC236}">
                <a16:creationId xmlns:a16="http://schemas.microsoft.com/office/drawing/2014/main" id="{94213EEF-F759-4045-9F53-49C1B4ECED53}"/>
              </a:ext>
              <a:ext uri="{C183D7F6-B498-43B3-948B-1728B52AA6E4}">
                <adec:decorative xmlns:adec="http://schemas.microsoft.com/office/drawing/2017/decorative" val="1"/>
              </a:ext>
            </a:extLst>
          </p:cNvPr>
          <p:cNvGrpSpPr/>
          <p:nvPr userDrawn="1"/>
        </p:nvGrpSpPr>
        <p:grpSpPr>
          <a:xfrm>
            <a:off x="-7412" y="5806395"/>
            <a:ext cx="2870811" cy="1000775"/>
            <a:chOff x="-13699" y="5839164"/>
            <a:chExt cx="2862790" cy="1000774"/>
          </a:xfrm>
        </p:grpSpPr>
        <p:sp>
          <p:nvSpPr>
            <p:cNvPr id="91" name="Freeform: Shape 90">
              <a:extLst>
                <a:ext uri="{FF2B5EF4-FFF2-40B4-BE49-F238E27FC236}">
                  <a16:creationId xmlns:a16="http://schemas.microsoft.com/office/drawing/2014/main" id="{2EA4D38A-6ACD-4296-B454-E5BD7EAC7990}"/>
                </a:ext>
              </a:extLst>
            </p:cNvPr>
            <p:cNvSpPr/>
            <p:nvPr userDrawn="1"/>
          </p:nvSpPr>
          <p:spPr>
            <a:xfrm>
              <a:off x="-13699" y="5839164"/>
              <a:ext cx="2862790" cy="28868"/>
            </a:xfrm>
            <a:custGeom>
              <a:avLst/>
              <a:gdLst>
                <a:gd name="connsiteX0" fmla="*/ 0 w 2862790"/>
                <a:gd name="connsiteY0" fmla="*/ 0 h 28868"/>
                <a:gd name="connsiteX1" fmla="*/ 2862790 w 2862790"/>
                <a:gd name="connsiteY1" fmla="*/ 0 h 28868"/>
                <a:gd name="connsiteX2" fmla="*/ 2833921 w 2862790"/>
                <a:gd name="connsiteY2" fmla="*/ 28868 h 28868"/>
                <a:gd name="connsiteX3" fmla="*/ 28868 w 2862790"/>
                <a:gd name="connsiteY3" fmla="*/ 28868 h 28868"/>
                <a:gd name="connsiteX4" fmla="*/ 0 w 2862790"/>
                <a:gd name="connsiteY4" fmla="*/ 0 h 28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2790" h="28868">
                  <a:moveTo>
                    <a:pt x="0" y="0"/>
                  </a:moveTo>
                  <a:lnTo>
                    <a:pt x="2862790" y="0"/>
                  </a:lnTo>
                  <a:lnTo>
                    <a:pt x="2833921" y="28868"/>
                  </a:lnTo>
                  <a:lnTo>
                    <a:pt x="28868" y="2886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90" name="Freeform: Shape 89">
              <a:extLst>
                <a:ext uri="{FF2B5EF4-FFF2-40B4-BE49-F238E27FC236}">
                  <a16:creationId xmlns:a16="http://schemas.microsoft.com/office/drawing/2014/main" id="{74E32D04-F635-443B-B642-A509F0473CB5}"/>
                </a:ext>
              </a:extLst>
            </p:cNvPr>
            <p:cNvSpPr/>
            <p:nvPr userDrawn="1"/>
          </p:nvSpPr>
          <p:spPr>
            <a:xfrm>
              <a:off x="47246" y="5900109"/>
              <a:ext cx="2740900" cy="28868"/>
            </a:xfrm>
            <a:custGeom>
              <a:avLst/>
              <a:gdLst>
                <a:gd name="connsiteX0" fmla="*/ 0 w 2740900"/>
                <a:gd name="connsiteY0" fmla="*/ 0 h 28868"/>
                <a:gd name="connsiteX1" fmla="*/ 2740900 w 2740900"/>
                <a:gd name="connsiteY1" fmla="*/ 0 h 28868"/>
                <a:gd name="connsiteX2" fmla="*/ 2712032 w 2740900"/>
                <a:gd name="connsiteY2" fmla="*/ 28868 h 28868"/>
                <a:gd name="connsiteX3" fmla="*/ 28868 w 2740900"/>
                <a:gd name="connsiteY3" fmla="*/ 28868 h 28868"/>
                <a:gd name="connsiteX4" fmla="*/ 0 w 2740900"/>
                <a:gd name="connsiteY4" fmla="*/ 0 h 28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0900" h="28868">
                  <a:moveTo>
                    <a:pt x="0" y="0"/>
                  </a:moveTo>
                  <a:lnTo>
                    <a:pt x="2740900" y="0"/>
                  </a:lnTo>
                  <a:lnTo>
                    <a:pt x="2712032" y="28868"/>
                  </a:lnTo>
                  <a:lnTo>
                    <a:pt x="28868" y="2886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89" name="Freeform: Shape 88">
              <a:extLst>
                <a:ext uri="{FF2B5EF4-FFF2-40B4-BE49-F238E27FC236}">
                  <a16:creationId xmlns:a16="http://schemas.microsoft.com/office/drawing/2014/main" id="{C95F7659-0C0B-4798-8392-E6B36B62DEA4}"/>
                </a:ext>
              </a:extLst>
            </p:cNvPr>
            <p:cNvSpPr/>
            <p:nvPr userDrawn="1"/>
          </p:nvSpPr>
          <p:spPr>
            <a:xfrm>
              <a:off x="108992" y="5960251"/>
              <a:ext cx="2619012" cy="29671"/>
            </a:xfrm>
            <a:custGeom>
              <a:avLst/>
              <a:gdLst>
                <a:gd name="connsiteX0" fmla="*/ 0 w 2619012"/>
                <a:gd name="connsiteY0" fmla="*/ 0 h 29671"/>
                <a:gd name="connsiteX1" fmla="*/ 2619012 w 2619012"/>
                <a:gd name="connsiteY1" fmla="*/ 0 h 29671"/>
                <a:gd name="connsiteX2" fmla="*/ 2590143 w 2619012"/>
                <a:gd name="connsiteY2" fmla="*/ 28868 h 29671"/>
                <a:gd name="connsiteX3" fmla="*/ 28067 w 2619012"/>
                <a:gd name="connsiteY3" fmla="*/ 29671 h 29671"/>
                <a:gd name="connsiteX4" fmla="*/ 28869 w 2619012"/>
                <a:gd name="connsiteY4" fmla="*/ 28869 h 29671"/>
                <a:gd name="connsiteX5" fmla="*/ 0 w 2619012"/>
                <a:gd name="connsiteY5" fmla="*/ 0 h 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9012" h="29671">
                  <a:moveTo>
                    <a:pt x="0" y="0"/>
                  </a:moveTo>
                  <a:lnTo>
                    <a:pt x="2619012" y="0"/>
                  </a:lnTo>
                  <a:lnTo>
                    <a:pt x="2590143" y="28868"/>
                  </a:lnTo>
                  <a:lnTo>
                    <a:pt x="28067" y="29671"/>
                  </a:lnTo>
                  <a:lnTo>
                    <a:pt x="28869" y="288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88" name="Freeform: Shape 87">
              <a:extLst>
                <a:ext uri="{FF2B5EF4-FFF2-40B4-BE49-F238E27FC236}">
                  <a16:creationId xmlns:a16="http://schemas.microsoft.com/office/drawing/2014/main" id="{ABB69ABA-A9D2-4649-A1AB-E12AA2D2C8E7}"/>
                </a:ext>
              </a:extLst>
            </p:cNvPr>
            <p:cNvSpPr/>
            <p:nvPr userDrawn="1"/>
          </p:nvSpPr>
          <p:spPr>
            <a:xfrm>
              <a:off x="169937" y="6021196"/>
              <a:ext cx="2497122" cy="29670"/>
            </a:xfrm>
            <a:custGeom>
              <a:avLst/>
              <a:gdLst>
                <a:gd name="connsiteX0" fmla="*/ 0 w 2497122"/>
                <a:gd name="connsiteY0" fmla="*/ 0 h 29670"/>
                <a:gd name="connsiteX1" fmla="*/ 2497122 w 2497122"/>
                <a:gd name="connsiteY1" fmla="*/ 0 h 29670"/>
                <a:gd name="connsiteX2" fmla="*/ 2468254 w 2497122"/>
                <a:gd name="connsiteY2" fmla="*/ 28868 h 29670"/>
                <a:gd name="connsiteX3" fmla="*/ 28066 w 2497122"/>
                <a:gd name="connsiteY3" fmla="*/ 29670 h 29670"/>
                <a:gd name="connsiteX4" fmla="*/ 28868 w 2497122"/>
                <a:gd name="connsiteY4" fmla="*/ 28868 h 29670"/>
                <a:gd name="connsiteX5" fmla="*/ 0 w 2497122"/>
                <a:gd name="connsiteY5" fmla="*/ 0 h 2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7122" h="29670">
                  <a:moveTo>
                    <a:pt x="0" y="0"/>
                  </a:moveTo>
                  <a:lnTo>
                    <a:pt x="2497122" y="0"/>
                  </a:lnTo>
                  <a:lnTo>
                    <a:pt x="2468254" y="28868"/>
                  </a:lnTo>
                  <a:lnTo>
                    <a:pt x="28066" y="29670"/>
                  </a:lnTo>
                  <a:lnTo>
                    <a:pt x="28868" y="2886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87" name="Freeform: Shape 86">
              <a:extLst>
                <a:ext uri="{FF2B5EF4-FFF2-40B4-BE49-F238E27FC236}">
                  <a16:creationId xmlns:a16="http://schemas.microsoft.com/office/drawing/2014/main" id="{8B88CE23-E34F-470C-8C56-46C08322365F}"/>
                </a:ext>
              </a:extLst>
            </p:cNvPr>
            <p:cNvSpPr/>
            <p:nvPr userDrawn="1"/>
          </p:nvSpPr>
          <p:spPr>
            <a:xfrm>
              <a:off x="229279" y="6082140"/>
              <a:ext cx="2376837" cy="28869"/>
            </a:xfrm>
            <a:custGeom>
              <a:avLst/>
              <a:gdLst>
                <a:gd name="connsiteX0" fmla="*/ 0 w 2376837"/>
                <a:gd name="connsiteY0" fmla="*/ 0 h 28869"/>
                <a:gd name="connsiteX1" fmla="*/ 2376837 w 2376837"/>
                <a:gd name="connsiteY1" fmla="*/ 0 h 28869"/>
                <a:gd name="connsiteX2" fmla="*/ 2347968 w 2376837"/>
                <a:gd name="connsiteY2" fmla="*/ 28868 h 28869"/>
                <a:gd name="connsiteX3" fmla="*/ 28868 w 2376837"/>
                <a:gd name="connsiteY3" fmla="*/ 28869 h 28869"/>
                <a:gd name="connsiteX4" fmla="*/ 0 w 2376837"/>
                <a:gd name="connsiteY4" fmla="*/ 0 h 28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837" h="28869">
                  <a:moveTo>
                    <a:pt x="0" y="0"/>
                  </a:moveTo>
                  <a:lnTo>
                    <a:pt x="2376837" y="0"/>
                  </a:lnTo>
                  <a:lnTo>
                    <a:pt x="2347968" y="28868"/>
                  </a:lnTo>
                  <a:lnTo>
                    <a:pt x="28868" y="288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86" name="Freeform: Shape 85">
              <a:extLst>
                <a:ext uri="{FF2B5EF4-FFF2-40B4-BE49-F238E27FC236}">
                  <a16:creationId xmlns:a16="http://schemas.microsoft.com/office/drawing/2014/main" id="{75BCEDE2-961E-42E0-AF9C-3D070C974007}"/>
                </a:ext>
              </a:extLst>
            </p:cNvPr>
            <p:cNvSpPr/>
            <p:nvPr userDrawn="1"/>
          </p:nvSpPr>
          <p:spPr>
            <a:xfrm>
              <a:off x="290222" y="6143085"/>
              <a:ext cx="2254948" cy="28868"/>
            </a:xfrm>
            <a:custGeom>
              <a:avLst/>
              <a:gdLst>
                <a:gd name="connsiteX0" fmla="*/ 0 w 2254948"/>
                <a:gd name="connsiteY0" fmla="*/ 0 h 28868"/>
                <a:gd name="connsiteX1" fmla="*/ 2254948 w 2254948"/>
                <a:gd name="connsiteY1" fmla="*/ 0 h 28868"/>
                <a:gd name="connsiteX2" fmla="*/ 2226080 w 2254948"/>
                <a:gd name="connsiteY2" fmla="*/ 28868 h 28868"/>
                <a:gd name="connsiteX3" fmla="*/ 28868 w 2254948"/>
                <a:gd name="connsiteY3" fmla="*/ 28868 h 28868"/>
                <a:gd name="connsiteX4" fmla="*/ 0 w 2254948"/>
                <a:gd name="connsiteY4" fmla="*/ 0 h 28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948" h="28868">
                  <a:moveTo>
                    <a:pt x="0" y="0"/>
                  </a:moveTo>
                  <a:lnTo>
                    <a:pt x="2254948" y="0"/>
                  </a:lnTo>
                  <a:lnTo>
                    <a:pt x="2226080" y="28868"/>
                  </a:lnTo>
                  <a:lnTo>
                    <a:pt x="28868" y="2886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85" name="Freeform: Shape 84">
              <a:extLst>
                <a:ext uri="{FF2B5EF4-FFF2-40B4-BE49-F238E27FC236}">
                  <a16:creationId xmlns:a16="http://schemas.microsoft.com/office/drawing/2014/main" id="{FB930397-7A2A-4C50-9EC9-7E3107D065D2}"/>
                </a:ext>
              </a:extLst>
            </p:cNvPr>
            <p:cNvSpPr/>
            <p:nvPr userDrawn="1"/>
          </p:nvSpPr>
          <p:spPr>
            <a:xfrm>
              <a:off x="351970" y="6203227"/>
              <a:ext cx="2133059" cy="29671"/>
            </a:xfrm>
            <a:custGeom>
              <a:avLst/>
              <a:gdLst>
                <a:gd name="connsiteX0" fmla="*/ 2133059 w 2133059"/>
                <a:gd name="connsiteY0" fmla="*/ 0 h 29671"/>
                <a:gd name="connsiteX1" fmla="*/ 2104190 w 2133059"/>
                <a:gd name="connsiteY1" fmla="*/ 28869 h 29671"/>
                <a:gd name="connsiteX2" fmla="*/ 28066 w 2133059"/>
                <a:gd name="connsiteY2" fmla="*/ 29671 h 29671"/>
                <a:gd name="connsiteX3" fmla="*/ 28868 w 2133059"/>
                <a:gd name="connsiteY3" fmla="*/ 28869 h 29671"/>
                <a:gd name="connsiteX4" fmla="*/ 0 w 2133059"/>
                <a:gd name="connsiteY4" fmla="*/ 1 h 29671"/>
                <a:gd name="connsiteX5" fmla="*/ 2133059 w 2133059"/>
                <a:gd name="connsiteY5" fmla="*/ 0 h 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3059" h="29671">
                  <a:moveTo>
                    <a:pt x="2133059" y="0"/>
                  </a:moveTo>
                  <a:lnTo>
                    <a:pt x="2104190" y="28869"/>
                  </a:lnTo>
                  <a:lnTo>
                    <a:pt x="28066" y="29671"/>
                  </a:lnTo>
                  <a:lnTo>
                    <a:pt x="28868" y="28869"/>
                  </a:lnTo>
                  <a:lnTo>
                    <a:pt x="0" y="1"/>
                  </a:lnTo>
                  <a:lnTo>
                    <a:pt x="213305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84" name="Freeform: Shape 83">
              <a:extLst>
                <a:ext uri="{FF2B5EF4-FFF2-40B4-BE49-F238E27FC236}">
                  <a16:creationId xmlns:a16="http://schemas.microsoft.com/office/drawing/2014/main" id="{8CA98174-D81B-4241-92F9-D0D2028FFEA9}"/>
                </a:ext>
              </a:extLst>
            </p:cNvPr>
            <p:cNvSpPr/>
            <p:nvPr userDrawn="1"/>
          </p:nvSpPr>
          <p:spPr>
            <a:xfrm>
              <a:off x="411310" y="6264172"/>
              <a:ext cx="2012774" cy="28868"/>
            </a:xfrm>
            <a:custGeom>
              <a:avLst/>
              <a:gdLst>
                <a:gd name="connsiteX0" fmla="*/ 0 w 2012774"/>
                <a:gd name="connsiteY0" fmla="*/ 0 h 28868"/>
                <a:gd name="connsiteX1" fmla="*/ 2012774 w 2012774"/>
                <a:gd name="connsiteY1" fmla="*/ 0 h 28868"/>
                <a:gd name="connsiteX2" fmla="*/ 1983905 w 2012774"/>
                <a:gd name="connsiteY2" fmla="*/ 28868 h 28868"/>
                <a:gd name="connsiteX3" fmla="*/ 28868 w 2012774"/>
                <a:gd name="connsiteY3" fmla="*/ 28868 h 28868"/>
                <a:gd name="connsiteX4" fmla="*/ 0 w 2012774"/>
                <a:gd name="connsiteY4" fmla="*/ 0 h 28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2774" h="28868">
                  <a:moveTo>
                    <a:pt x="0" y="0"/>
                  </a:moveTo>
                  <a:lnTo>
                    <a:pt x="2012774" y="0"/>
                  </a:lnTo>
                  <a:lnTo>
                    <a:pt x="1983905" y="28868"/>
                  </a:lnTo>
                  <a:lnTo>
                    <a:pt x="28868" y="2886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83" name="Freeform: Shape 82">
              <a:extLst>
                <a:ext uri="{FF2B5EF4-FFF2-40B4-BE49-F238E27FC236}">
                  <a16:creationId xmlns:a16="http://schemas.microsoft.com/office/drawing/2014/main" id="{E4CE4FB8-5E60-4288-B2FA-CF9316ED449F}"/>
                </a:ext>
              </a:extLst>
            </p:cNvPr>
            <p:cNvSpPr/>
            <p:nvPr userDrawn="1"/>
          </p:nvSpPr>
          <p:spPr>
            <a:xfrm>
              <a:off x="472255" y="6325117"/>
              <a:ext cx="1890884" cy="28868"/>
            </a:xfrm>
            <a:custGeom>
              <a:avLst/>
              <a:gdLst>
                <a:gd name="connsiteX0" fmla="*/ 0 w 1890884"/>
                <a:gd name="connsiteY0" fmla="*/ 0 h 28868"/>
                <a:gd name="connsiteX1" fmla="*/ 1890884 w 1890884"/>
                <a:gd name="connsiteY1" fmla="*/ 0 h 28868"/>
                <a:gd name="connsiteX2" fmla="*/ 1862016 w 1890884"/>
                <a:gd name="connsiteY2" fmla="*/ 28868 h 28868"/>
                <a:gd name="connsiteX3" fmla="*/ 28868 w 1890884"/>
                <a:gd name="connsiteY3" fmla="*/ 28868 h 28868"/>
                <a:gd name="connsiteX4" fmla="*/ 0 w 1890884"/>
                <a:gd name="connsiteY4" fmla="*/ 0 h 28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884" h="28868">
                  <a:moveTo>
                    <a:pt x="0" y="0"/>
                  </a:moveTo>
                  <a:lnTo>
                    <a:pt x="1890884" y="0"/>
                  </a:lnTo>
                  <a:lnTo>
                    <a:pt x="1862016" y="28868"/>
                  </a:lnTo>
                  <a:lnTo>
                    <a:pt x="28868" y="2886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82" name="Freeform: Shape 81">
              <a:extLst>
                <a:ext uri="{FF2B5EF4-FFF2-40B4-BE49-F238E27FC236}">
                  <a16:creationId xmlns:a16="http://schemas.microsoft.com/office/drawing/2014/main" id="{6F69FE5C-0AF0-42F6-A721-9E2244C967AA}"/>
                </a:ext>
              </a:extLst>
            </p:cNvPr>
            <p:cNvSpPr/>
            <p:nvPr userDrawn="1"/>
          </p:nvSpPr>
          <p:spPr>
            <a:xfrm>
              <a:off x="533199" y="6386061"/>
              <a:ext cx="1768996" cy="28869"/>
            </a:xfrm>
            <a:custGeom>
              <a:avLst/>
              <a:gdLst>
                <a:gd name="connsiteX0" fmla="*/ 0 w 1768996"/>
                <a:gd name="connsiteY0" fmla="*/ 0 h 28869"/>
                <a:gd name="connsiteX1" fmla="*/ 1768996 w 1768996"/>
                <a:gd name="connsiteY1" fmla="*/ 0 h 28869"/>
                <a:gd name="connsiteX2" fmla="*/ 1740128 w 1768996"/>
                <a:gd name="connsiteY2" fmla="*/ 28868 h 28869"/>
                <a:gd name="connsiteX3" fmla="*/ 28869 w 1768996"/>
                <a:gd name="connsiteY3" fmla="*/ 28869 h 28869"/>
                <a:gd name="connsiteX4" fmla="*/ 0 w 1768996"/>
                <a:gd name="connsiteY4" fmla="*/ 0 h 28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8996" h="28869">
                  <a:moveTo>
                    <a:pt x="0" y="0"/>
                  </a:moveTo>
                  <a:lnTo>
                    <a:pt x="1768996" y="0"/>
                  </a:lnTo>
                  <a:lnTo>
                    <a:pt x="1740128" y="28868"/>
                  </a:lnTo>
                  <a:lnTo>
                    <a:pt x="28869" y="288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81" name="Freeform: Shape 80">
              <a:extLst>
                <a:ext uri="{FF2B5EF4-FFF2-40B4-BE49-F238E27FC236}">
                  <a16:creationId xmlns:a16="http://schemas.microsoft.com/office/drawing/2014/main" id="{E8311083-D41B-4770-B6A9-AFA83AAF2885}"/>
                </a:ext>
              </a:extLst>
            </p:cNvPr>
            <p:cNvSpPr/>
            <p:nvPr userDrawn="1"/>
          </p:nvSpPr>
          <p:spPr>
            <a:xfrm>
              <a:off x="594946" y="6446204"/>
              <a:ext cx="1647106" cy="29670"/>
            </a:xfrm>
            <a:custGeom>
              <a:avLst/>
              <a:gdLst>
                <a:gd name="connsiteX0" fmla="*/ 0 w 1647106"/>
                <a:gd name="connsiteY0" fmla="*/ 0 h 29670"/>
                <a:gd name="connsiteX1" fmla="*/ 1647106 w 1647106"/>
                <a:gd name="connsiteY1" fmla="*/ 0 h 29670"/>
                <a:gd name="connsiteX2" fmla="*/ 1618238 w 1647106"/>
                <a:gd name="connsiteY2" fmla="*/ 28868 h 29670"/>
                <a:gd name="connsiteX3" fmla="*/ 28066 w 1647106"/>
                <a:gd name="connsiteY3" fmla="*/ 29670 h 29670"/>
                <a:gd name="connsiteX4" fmla="*/ 28868 w 1647106"/>
                <a:gd name="connsiteY4" fmla="*/ 28868 h 29670"/>
                <a:gd name="connsiteX5" fmla="*/ 0 w 1647106"/>
                <a:gd name="connsiteY5" fmla="*/ 0 h 2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7106" h="29670">
                  <a:moveTo>
                    <a:pt x="0" y="0"/>
                  </a:moveTo>
                  <a:lnTo>
                    <a:pt x="1647106" y="0"/>
                  </a:lnTo>
                  <a:lnTo>
                    <a:pt x="1618238" y="28868"/>
                  </a:lnTo>
                  <a:lnTo>
                    <a:pt x="28066" y="29670"/>
                  </a:lnTo>
                  <a:lnTo>
                    <a:pt x="28868" y="2886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80" name="Freeform: Shape 79">
              <a:extLst>
                <a:ext uri="{FF2B5EF4-FFF2-40B4-BE49-F238E27FC236}">
                  <a16:creationId xmlns:a16="http://schemas.microsoft.com/office/drawing/2014/main" id="{730A62EE-9416-445D-B0B2-018F008614B8}"/>
                </a:ext>
              </a:extLst>
            </p:cNvPr>
            <p:cNvSpPr/>
            <p:nvPr userDrawn="1"/>
          </p:nvSpPr>
          <p:spPr>
            <a:xfrm>
              <a:off x="654287" y="6507148"/>
              <a:ext cx="1526821" cy="28869"/>
            </a:xfrm>
            <a:custGeom>
              <a:avLst/>
              <a:gdLst>
                <a:gd name="connsiteX0" fmla="*/ 0 w 1526821"/>
                <a:gd name="connsiteY0" fmla="*/ 0 h 28869"/>
                <a:gd name="connsiteX1" fmla="*/ 1526821 w 1526821"/>
                <a:gd name="connsiteY1" fmla="*/ 0 h 28869"/>
                <a:gd name="connsiteX2" fmla="*/ 1497952 w 1526821"/>
                <a:gd name="connsiteY2" fmla="*/ 28868 h 28869"/>
                <a:gd name="connsiteX3" fmla="*/ 28868 w 1526821"/>
                <a:gd name="connsiteY3" fmla="*/ 28869 h 28869"/>
                <a:gd name="connsiteX4" fmla="*/ 0 w 1526821"/>
                <a:gd name="connsiteY4" fmla="*/ 0 h 28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1" h="28869">
                  <a:moveTo>
                    <a:pt x="0" y="0"/>
                  </a:moveTo>
                  <a:lnTo>
                    <a:pt x="1526821" y="0"/>
                  </a:lnTo>
                  <a:lnTo>
                    <a:pt x="1497952" y="28868"/>
                  </a:lnTo>
                  <a:lnTo>
                    <a:pt x="28868" y="288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79" name="Freeform: Shape 78">
              <a:extLst>
                <a:ext uri="{FF2B5EF4-FFF2-40B4-BE49-F238E27FC236}">
                  <a16:creationId xmlns:a16="http://schemas.microsoft.com/office/drawing/2014/main" id="{4A92E211-EBEF-4E62-97FD-46ECC42436DF}"/>
                </a:ext>
              </a:extLst>
            </p:cNvPr>
            <p:cNvSpPr/>
            <p:nvPr userDrawn="1"/>
          </p:nvSpPr>
          <p:spPr>
            <a:xfrm>
              <a:off x="715231" y="6568093"/>
              <a:ext cx="1404932" cy="28868"/>
            </a:xfrm>
            <a:custGeom>
              <a:avLst/>
              <a:gdLst>
                <a:gd name="connsiteX0" fmla="*/ 0 w 1404932"/>
                <a:gd name="connsiteY0" fmla="*/ 0 h 28868"/>
                <a:gd name="connsiteX1" fmla="*/ 1404932 w 1404932"/>
                <a:gd name="connsiteY1" fmla="*/ 0 h 28868"/>
                <a:gd name="connsiteX2" fmla="*/ 1376064 w 1404932"/>
                <a:gd name="connsiteY2" fmla="*/ 28868 h 28868"/>
                <a:gd name="connsiteX3" fmla="*/ 28868 w 1404932"/>
                <a:gd name="connsiteY3" fmla="*/ 28868 h 28868"/>
                <a:gd name="connsiteX4" fmla="*/ 0 w 1404932"/>
                <a:gd name="connsiteY4" fmla="*/ 0 h 28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32" h="28868">
                  <a:moveTo>
                    <a:pt x="0" y="0"/>
                  </a:moveTo>
                  <a:lnTo>
                    <a:pt x="1404932" y="0"/>
                  </a:lnTo>
                  <a:lnTo>
                    <a:pt x="1376064" y="28868"/>
                  </a:lnTo>
                  <a:lnTo>
                    <a:pt x="28868" y="2886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78" name="Freeform: Shape 77">
              <a:extLst>
                <a:ext uri="{FF2B5EF4-FFF2-40B4-BE49-F238E27FC236}">
                  <a16:creationId xmlns:a16="http://schemas.microsoft.com/office/drawing/2014/main" id="{CC8A63A1-564C-478A-B490-96E1C76014CC}"/>
                </a:ext>
              </a:extLst>
            </p:cNvPr>
            <p:cNvSpPr/>
            <p:nvPr userDrawn="1"/>
          </p:nvSpPr>
          <p:spPr>
            <a:xfrm>
              <a:off x="776977" y="6628235"/>
              <a:ext cx="1283044" cy="29671"/>
            </a:xfrm>
            <a:custGeom>
              <a:avLst/>
              <a:gdLst>
                <a:gd name="connsiteX0" fmla="*/ 1283044 w 1283044"/>
                <a:gd name="connsiteY0" fmla="*/ 0 h 29671"/>
                <a:gd name="connsiteX1" fmla="*/ 1254175 w 1283044"/>
                <a:gd name="connsiteY1" fmla="*/ 28869 h 29671"/>
                <a:gd name="connsiteX2" fmla="*/ 28067 w 1283044"/>
                <a:gd name="connsiteY2" fmla="*/ 29671 h 29671"/>
                <a:gd name="connsiteX3" fmla="*/ 28869 w 1283044"/>
                <a:gd name="connsiteY3" fmla="*/ 28869 h 29671"/>
                <a:gd name="connsiteX4" fmla="*/ 0 w 1283044"/>
                <a:gd name="connsiteY4" fmla="*/ 1 h 29671"/>
                <a:gd name="connsiteX5" fmla="*/ 1283044 w 1283044"/>
                <a:gd name="connsiteY5" fmla="*/ 0 h 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3044" h="29671">
                  <a:moveTo>
                    <a:pt x="1283044" y="0"/>
                  </a:moveTo>
                  <a:lnTo>
                    <a:pt x="1254175" y="28869"/>
                  </a:lnTo>
                  <a:lnTo>
                    <a:pt x="28067" y="29671"/>
                  </a:lnTo>
                  <a:lnTo>
                    <a:pt x="28869" y="28869"/>
                  </a:lnTo>
                  <a:lnTo>
                    <a:pt x="0" y="1"/>
                  </a:lnTo>
                  <a:lnTo>
                    <a:pt x="128304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77" name="Freeform: Shape 76">
              <a:extLst>
                <a:ext uri="{FF2B5EF4-FFF2-40B4-BE49-F238E27FC236}">
                  <a16:creationId xmlns:a16="http://schemas.microsoft.com/office/drawing/2014/main" id="{4162FC41-462F-4E99-AACA-F5B9C804FB14}"/>
                </a:ext>
              </a:extLst>
            </p:cNvPr>
            <p:cNvSpPr/>
            <p:nvPr userDrawn="1"/>
          </p:nvSpPr>
          <p:spPr>
            <a:xfrm>
              <a:off x="837922" y="6689180"/>
              <a:ext cx="1161154" cy="29670"/>
            </a:xfrm>
            <a:custGeom>
              <a:avLst/>
              <a:gdLst>
                <a:gd name="connsiteX0" fmla="*/ 0 w 1161154"/>
                <a:gd name="connsiteY0" fmla="*/ 0 h 29670"/>
                <a:gd name="connsiteX1" fmla="*/ 1161154 w 1161154"/>
                <a:gd name="connsiteY1" fmla="*/ 0 h 29670"/>
                <a:gd name="connsiteX2" fmla="*/ 1132285 w 1161154"/>
                <a:gd name="connsiteY2" fmla="*/ 28868 h 29670"/>
                <a:gd name="connsiteX3" fmla="*/ 28066 w 1161154"/>
                <a:gd name="connsiteY3" fmla="*/ 29670 h 29670"/>
                <a:gd name="connsiteX4" fmla="*/ 28868 w 1161154"/>
                <a:gd name="connsiteY4" fmla="*/ 28868 h 29670"/>
                <a:gd name="connsiteX5" fmla="*/ 0 w 1161154"/>
                <a:gd name="connsiteY5" fmla="*/ 0 h 2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154" h="29670">
                  <a:moveTo>
                    <a:pt x="0" y="0"/>
                  </a:moveTo>
                  <a:lnTo>
                    <a:pt x="1161154" y="0"/>
                  </a:lnTo>
                  <a:lnTo>
                    <a:pt x="1132285" y="28868"/>
                  </a:lnTo>
                  <a:lnTo>
                    <a:pt x="28066" y="29670"/>
                  </a:lnTo>
                  <a:lnTo>
                    <a:pt x="28868" y="28868"/>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76" name="Freeform: Shape 75">
              <a:extLst>
                <a:ext uri="{FF2B5EF4-FFF2-40B4-BE49-F238E27FC236}">
                  <a16:creationId xmlns:a16="http://schemas.microsoft.com/office/drawing/2014/main" id="{1F9B61AC-B03D-4064-9DE6-9818F53F333C}"/>
                </a:ext>
              </a:extLst>
            </p:cNvPr>
            <p:cNvSpPr/>
            <p:nvPr userDrawn="1"/>
          </p:nvSpPr>
          <p:spPr>
            <a:xfrm>
              <a:off x="897263" y="6750124"/>
              <a:ext cx="1040868" cy="28869"/>
            </a:xfrm>
            <a:custGeom>
              <a:avLst/>
              <a:gdLst>
                <a:gd name="connsiteX0" fmla="*/ 0 w 1040868"/>
                <a:gd name="connsiteY0" fmla="*/ 0 h 28869"/>
                <a:gd name="connsiteX1" fmla="*/ 1040868 w 1040868"/>
                <a:gd name="connsiteY1" fmla="*/ 0 h 28869"/>
                <a:gd name="connsiteX2" fmla="*/ 1012000 w 1040868"/>
                <a:gd name="connsiteY2" fmla="*/ 28869 h 28869"/>
                <a:gd name="connsiteX3" fmla="*/ 28868 w 1040868"/>
                <a:gd name="connsiteY3" fmla="*/ 28869 h 28869"/>
                <a:gd name="connsiteX4" fmla="*/ 0 w 1040868"/>
                <a:gd name="connsiteY4" fmla="*/ 0 h 28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0868" h="28869">
                  <a:moveTo>
                    <a:pt x="0" y="0"/>
                  </a:moveTo>
                  <a:lnTo>
                    <a:pt x="1040868" y="0"/>
                  </a:lnTo>
                  <a:lnTo>
                    <a:pt x="1012000" y="28869"/>
                  </a:lnTo>
                  <a:lnTo>
                    <a:pt x="28868" y="288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73" name="Freeform: Shape 72">
              <a:extLst>
                <a:ext uri="{FF2B5EF4-FFF2-40B4-BE49-F238E27FC236}">
                  <a16:creationId xmlns:a16="http://schemas.microsoft.com/office/drawing/2014/main" id="{C104BA00-790F-438D-AC93-117E23CF2099}"/>
                </a:ext>
              </a:extLst>
            </p:cNvPr>
            <p:cNvSpPr/>
            <p:nvPr userDrawn="1"/>
          </p:nvSpPr>
          <p:spPr>
            <a:xfrm>
              <a:off x="958207" y="6811069"/>
              <a:ext cx="918980" cy="28869"/>
            </a:xfrm>
            <a:custGeom>
              <a:avLst/>
              <a:gdLst>
                <a:gd name="connsiteX0" fmla="*/ 0 w 918980"/>
                <a:gd name="connsiteY0" fmla="*/ 0 h 28869"/>
                <a:gd name="connsiteX1" fmla="*/ 918980 w 918980"/>
                <a:gd name="connsiteY1" fmla="*/ 0 h 28869"/>
                <a:gd name="connsiteX2" fmla="*/ 890112 w 918980"/>
                <a:gd name="connsiteY2" fmla="*/ 28868 h 28869"/>
                <a:gd name="connsiteX3" fmla="*/ 28869 w 918980"/>
                <a:gd name="connsiteY3" fmla="*/ 28869 h 28869"/>
                <a:gd name="connsiteX4" fmla="*/ 0 w 918980"/>
                <a:gd name="connsiteY4" fmla="*/ 0 h 28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980" h="28869">
                  <a:moveTo>
                    <a:pt x="0" y="0"/>
                  </a:moveTo>
                  <a:lnTo>
                    <a:pt x="918980" y="0"/>
                  </a:lnTo>
                  <a:lnTo>
                    <a:pt x="890112" y="28868"/>
                  </a:lnTo>
                  <a:lnTo>
                    <a:pt x="28869" y="288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grpSp>
      <p:sp>
        <p:nvSpPr>
          <p:cNvPr id="101" name="Freeform: Shape 100">
            <a:extLst>
              <a:ext uri="{FF2B5EF4-FFF2-40B4-BE49-F238E27FC236}">
                <a16:creationId xmlns:a16="http://schemas.microsoft.com/office/drawing/2014/main" id="{788A3CD7-1915-41CF-9FB5-E6FEDCA8F19C}"/>
              </a:ext>
              <a:ext uri="{C183D7F6-B498-43B3-948B-1728B52AA6E4}">
                <adec:decorative xmlns:adec="http://schemas.microsoft.com/office/drawing/2017/decorative" val="1"/>
              </a:ext>
            </a:extLst>
          </p:cNvPr>
          <p:cNvSpPr/>
          <p:nvPr userDrawn="1"/>
        </p:nvSpPr>
        <p:spPr>
          <a:xfrm>
            <a:off x="1793660" y="5801763"/>
            <a:ext cx="1075475" cy="1058335"/>
          </a:xfrm>
          <a:custGeom>
            <a:avLst/>
            <a:gdLst>
              <a:gd name="connsiteX0" fmla="*/ 1062720 w 1062720"/>
              <a:gd name="connsiteY0" fmla="*/ 0 h 1062720"/>
              <a:gd name="connsiteX1" fmla="*/ 1062720 w 1062720"/>
              <a:gd name="connsiteY1" fmla="*/ 1062720 h 1062720"/>
              <a:gd name="connsiteX2" fmla="*/ 0 w 1062720"/>
              <a:gd name="connsiteY2" fmla="*/ 1062720 h 1062720"/>
              <a:gd name="connsiteX3" fmla="*/ 1062720 w 1062720"/>
              <a:gd name="connsiteY3" fmla="*/ 0 h 1062720"/>
            </a:gdLst>
            <a:ahLst/>
            <a:cxnLst>
              <a:cxn ang="0">
                <a:pos x="connsiteX0" y="connsiteY0"/>
              </a:cxn>
              <a:cxn ang="0">
                <a:pos x="connsiteX1" y="connsiteY1"/>
              </a:cxn>
              <a:cxn ang="0">
                <a:pos x="connsiteX2" y="connsiteY2"/>
              </a:cxn>
              <a:cxn ang="0">
                <a:pos x="connsiteX3" y="connsiteY3"/>
              </a:cxn>
            </a:cxnLst>
            <a:rect l="l" t="t" r="r" b="b"/>
            <a:pathLst>
              <a:path w="1062720" h="1062720">
                <a:moveTo>
                  <a:pt x="1062720" y="0"/>
                </a:moveTo>
                <a:lnTo>
                  <a:pt x="1062720" y="1062720"/>
                </a:lnTo>
                <a:lnTo>
                  <a:pt x="0" y="1062720"/>
                </a:lnTo>
                <a:lnTo>
                  <a:pt x="106272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163" name="Freeform: Shape 162">
            <a:extLst>
              <a:ext uri="{FF2B5EF4-FFF2-40B4-BE49-F238E27FC236}">
                <a16:creationId xmlns:a16="http://schemas.microsoft.com/office/drawing/2014/main" id="{FEE07693-1822-40D4-88A4-0F663C787D7E}"/>
              </a:ext>
              <a:ext uri="{C183D7F6-B498-43B3-948B-1728B52AA6E4}">
                <adec:decorative xmlns:adec="http://schemas.microsoft.com/office/drawing/2017/decorative" val="1"/>
              </a:ext>
            </a:extLst>
          </p:cNvPr>
          <p:cNvSpPr/>
          <p:nvPr userDrawn="1"/>
        </p:nvSpPr>
        <p:spPr>
          <a:xfrm>
            <a:off x="1035547" y="6829132"/>
            <a:ext cx="918980" cy="28869"/>
          </a:xfrm>
          <a:custGeom>
            <a:avLst/>
            <a:gdLst>
              <a:gd name="connsiteX0" fmla="*/ 0 w 918980"/>
              <a:gd name="connsiteY0" fmla="*/ 0 h 28869"/>
              <a:gd name="connsiteX1" fmla="*/ 918980 w 918980"/>
              <a:gd name="connsiteY1" fmla="*/ 0 h 28869"/>
              <a:gd name="connsiteX2" fmla="*/ 890112 w 918980"/>
              <a:gd name="connsiteY2" fmla="*/ 28868 h 28869"/>
              <a:gd name="connsiteX3" fmla="*/ 28869 w 918980"/>
              <a:gd name="connsiteY3" fmla="*/ 28869 h 28869"/>
              <a:gd name="connsiteX4" fmla="*/ 0 w 918980"/>
              <a:gd name="connsiteY4" fmla="*/ 0 h 28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980" h="28869">
                <a:moveTo>
                  <a:pt x="0" y="0"/>
                </a:moveTo>
                <a:lnTo>
                  <a:pt x="918980" y="0"/>
                </a:lnTo>
                <a:lnTo>
                  <a:pt x="890112" y="28868"/>
                </a:lnTo>
                <a:lnTo>
                  <a:pt x="28869" y="288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sp>
        <p:nvSpPr>
          <p:cNvPr id="4" name="Title 1">
            <a:extLst>
              <a:ext uri="{FF2B5EF4-FFF2-40B4-BE49-F238E27FC236}">
                <a16:creationId xmlns:a16="http://schemas.microsoft.com/office/drawing/2014/main" id="{C8142DAF-BE54-C239-5685-89D55E027E4E}"/>
              </a:ext>
            </a:extLst>
          </p:cNvPr>
          <p:cNvSpPr>
            <a:spLocks noGrp="1"/>
          </p:cNvSpPr>
          <p:nvPr>
            <p:ph type="title" hasCustomPrompt="1"/>
          </p:nvPr>
        </p:nvSpPr>
        <p:spPr>
          <a:xfrm>
            <a:off x="3520440" y="896112"/>
            <a:ext cx="7889768" cy="2039341"/>
          </a:xfrm>
        </p:spPr>
        <p:txBody>
          <a:bodyPr anchor="t" anchorCtr="0"/>
          <a:lstStyle>
            <a:lvl1pPr>
              <a:defRPr cap="all" baseline="0">
                <a:solidFill>
                  <a:schemeClr val="accent1"/>
                </a:solidFill>
              </a:defRPr>
            </a:lvl1pPr>
          </a:lstStyle>
          <a:p>
            <a:r>
              <a:rPr lang="en-US"/>
              <a:t>CLICK TO ADD TITLE</a:t>
            </a:r>
          </a:p>
        </p:txBody>
      </p:sp>
      <p:sp>
        <p:nvSpPr>
          <p:cNvPr id="10" name="Content Placeholder 2">
            <a:extLst>
              <a:ext uri="{FF2B5EF4-FFF2-40B4-BE49-F238E27FC236}">
                <a16:creationId xmlns:a16="http://schemas.microsoft.com/office/drawing/2014/main" id="{5A2EBD71-EB16-773C-A6CB-C6E1259AE70B}"/>
              </a:ext>
            </a:extLst>
          </p:cNvPr>
          <p:cNvSpPr>
            <a:spLocks noGrp="1"/>
          </p:cNvSpPr>
          <p:nvPr>
            <p:ph sz="half" idx="14" hasCustomPrompt="1"/>
          </p:nvPr>
        </p:nvSpPr>
        <p:spPr>
          <a:xfrm>
            <a:off x="3520441" y="3259057"/>
            <a:ext cx="2994660" cy="3006531"/>
          </a:xfrm>
        </p:spPr>
        <p:txBody>
          <a:bodyPr>
            <a:normAutofit/>
          </a:bodyPr>
          <a:lstStyle>
            <a:lvl1pPr marL="285744" indent="-285744">
              <a:lnSpc>
                <a:spcPts val="2000"/>
              </a:lnSpc>
              <a:buFont typeface="Arial" panose="020B0604020202020204" pitchFamily="34" charset="0"/>
              <a:buChar char="•"/>
              <a:defRPr sz="1800"/>
            </a:lvl1pPr>
            <a:lvl2pPr>
              <a:lnSpc>
                <a:spcPts val="2000"/>
              </a:lnSpc>
              <a:defRPr sz="1800"/>
            </a:lvl2pPr>
            <a:lvl3pPr>
              <a:lnSpc>
                <a:spcPts val="2000"/>
              </a:lnSpc>
              <a:defRPr sz="1800"/>
            </a:lvl3pPr>
            <a:lvl4pPr>
              <a:lnSpc>
                <a:spcPts val="2000"/>
              </a:lnSpc>
              <a:defRPr sz="1800"/>
            </a:lvl4pPr>
            <a:lvl5pPr>
              <a:lnSpc>
                <a:spcPts val="2000"/>
              </a:lnSpc>
              <a:defRPr sz="1800"/>
            </a:lvl5pPr>
          </a:lstStyle>
          <a:p>
            <a:pPr lvl="0"/>
            <a:r>
              <a:rPr lang="en-US"/>
              <a:t>Click to add content</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56944BE1-9937-7EA2-AA56-336B8D5CAADA}"/>
              </a:ext>
            </a:extLst>
          </p:cNvPr>
          <p:cNvSpPr>
            <a:spLocks noGrp="1"/>
          </p:cNvSpPr>
          <p:nvPr>
            <p:ph sz="half" idx="1" hasCustomPrompt="1"/>
          </p:nvPr>
        </p:nvSpPr>
        <p:spPr>
          <a:xfrm>
            <a:off x="6826432" y="3253741"/>
            <a:ext cx="4580088" cy="3006531"/>
          </a:xfrm>
        </p:spPr>
        <p:txBody>
          <a:bodyPr>
            <a:normAutofit/>
          </a:bodyPr>
          <a:lstStyle>
            <a:lvl1pPr marL="0" indent="0">
              <a:lnSpc>
                <a:spcPts val="2000"/>
              </a:lnSpc>
              <a:buNone/>
              <a:defRPr sz="1800"/>
            </a:lvl1pPr>
            <a:lvl2pPr marL="457189">
              <a:lnSpc>
                <a:spcPts val="2000"/>
              </a:lnSpc>
              <a:defRPr sz="1800"/>
            </a:lvl2pPr>
            <a:lvl3pPr marL="914377">
              <a:lnSpc>
                <a:spcPts val="2000"/>
              </a:lnSpc>
              <a:defRPr sz="1800"/>
            </a:lvl3pPr>
            <a:lvl4pPr marL="1371566">
              <a:lnSpc>
                <a:spcPts val="2000"/>
              </a:lnSpc>
              <a:defRPr sz="1800"/>
            </a:lvl4pPr>
            <a:lvl5pPr marL="1828754">
              <a:lnSpc>
                <a:spcPts val="2000"/>
              </a:lnSpc>
              <a:defRPr sz="1800"/>
            </a:lvl5pPr>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209" name="Date Placeholder 3">
            <a:extLst>
              <a:ext uri="{FF2B5EF4-FFF2-40B4-BE49-F238E27FC236}">
                <a16:creationId xmlns:a16="http://schemas.microsoft.com/office/drawing/2014/main" id="{5A56B3AA-5CA2-4004-8F95-11FD7B895DAE}"/>
              </a:ext>
            </a:extLst>
          </p:cNvPr>
          <p:cNvSpPr>
            <a:spLocks noGrp="1"/>
          </p:cNvSpPr>
          <p:nvPr>
            <p:ph type="dt" sz="half" idx="10"/>
          </p:nvPr>
        </p:nvSpPr>
        <p:spPr>
          <a:xfrm>
            <a:off x="3523723" y="6353176"/>
            <a:ext cx="1097280" cy="365125"/>
          </a:xfrm>
        </p:spPr>
        <p:txBody>
          <a:bodyPr/>
          <a:lstStyle>
            <a:lvl1pPr>
              <a:defRPr>
                <a:solidFill>
                  <a:schemeClr val="tx1">
                    <a:lumMod val="75000"/>
                    <a:lumOff val="25000"/>
                  </a:schemeClr>
                </a:solidFill>
              </a:defRPr>
            </a:lvl1pPr>
          </a:lstStyle>
          <a:p>
            <a:r>
              <a:rPr lang="en-US"/>
              <a:t>12/11/2023</a:t>
            </a:r>
          </a:p>
        </p:txBody>
      </p:sp>
      <p:sp>
        <p:nvSpPr>
          <p:cNvPr id="210" name="Footer Placeholder 4">
            <a:extLst>
              <a:ext uri="{FF2B5EF4-FFF2-40B4-BE49-F238E27FC236}">
                <a16:creationId xmlns:a16="http://schemas.microsoft.com/office/drawing/2014/main" id="{07D92F37-472D-4CCB-AA97-FA42E56079C7}"/>
              </a:ext>
            </a:extLst>
          </p:cNvPr>
          <p:cNvSpPr>
            <a:spLocks noGrp="1"/>
          </p:cNvSpPr>
          <p:nvPr>
            <p:ph type="ftr" sz="quarter" idx="11"/>
          </p:nvPr>
        </p:nvSpPr>
        <p:spPr>
          <a:xfrm>
            <a:off x="6642161" y="6350000"/>
            <a:ext cx="2286000" cy="365125"/>
          </a:xfrm>
        </p:spPr>
        <p:txBody>
          <a:bodyPr/>
          <a:lstStyle>
            <a:lvl1pPr>
              <a:defRPr>
                <a:solidFill>
                  <a:schemeClr val="tx1">
                    <a:lumMod val="75000"/>
                    <a:lumOff val="25000"/>
                  </a:schemeClr>
                </a:solidFill>
              </a:defRPr>
            </a:lvl1pPr>
          </a:lstStyle>
          <a:p>
            <a:r>
              <a:rPr lang="en-US"/>
              <a:t>Presentation title</a:t>
            </a:r>
          </a:p>
        </p:txBody>
      </p:sp>
      <p:sp>
        <p:nvSpPr>
          <p:cNvPr id="211" name="Slide Number Placeholder 5">
            <a:extLst>
              <a:ext uri="{FF2B5EF4-FFF2-40B4-BE49-F238E27FC236}">
                <a16:creationId xmlns:a16="http://schemas.microsoft.com/office/drawing/2014/main" id="{C0E89FFF-230F-4CBA-A6BC-D887B3FFA51F}"/>
              </a:ext>
            </a:extLst>
          </p:cNvPr>
          <p:cNvSpPr>
            <a:spLocks noGrp="1"/>
          </p:cNvSpPr>
          <p:nvPr>
            <p:ph type="sldNum" sz="quarter" idx="12"/>
          </p:nvPr>
        </p:nvSpPr>
        <p:spPr>
          <a:xfrm>
            <a:off x="10949320" y="6356351"/>
            <a:ext cx="457200" cy="365125"/>
          </a:xfrm>
        </p:spPr>
        <p:txBody>
          <a:bodyPr/>
          <a:lstStyle>
            <a:lvl1pPr>
              <a:defRPr>
                <a:solidFill>
                  <a:schemeClr val="tx1">
                    <a:lumMod val="75000"/>
                    <a:lumOff val="25000"/>
                  </a:schemeClr>
                </a:solidFill>
              </a:defRPr>
            </a:lvl1pPr>
          </a:lstStyle>
          <a:p>
            <a:fld id="{B5CEABB6-07DC-46E8-9B57-56EC44A396E5}" type="slidenum">
              <a:rPr lang="en-US" smtClean="0"/>
              <a:pPr/>
              <a:t>‹#›</a:t>
            </a:fld>
            <a:endParaRPr lang="en-US"/>
          </a:p>
        </p:txBody>
      </p:sp>
    </p:spTree>
    <p:extLst>
      <p:ext uri="{BB962C8B-B14F-4D97-AF65-F5344CB8AC3E}">
        <p14:creationId xmlns:p14="http://schemas.microsoft.com/office/powerpoint/2010/main" val="2893532"/>
      </p:ext>
    </p:extLst>
  </p:cSld>
  <p:clrMapOvr>
    <a:masterClrMapping/>
  </p:clrMapOvr>
  <p:extLst>
    <p:ext uri="{DCECCB84-F9BA-43D5-87BE-67443E8EF086}">
      <p15:sldGuideLst xmlns:p15="http://schemas.microsoft.com/office/powerpoint/2012/main">
        <p15:guide id="1" orient="horz" pos="414">
          <p15:clr>
            <a:srgbClr val="FBAE40"/>
          </p15:clr>
        </p15:guide>
        <p15:guide id="2" pos="5328">
          <p15:clr>
            <a:srgbClr val="FBAE40"/>
          </p15:clr>
        </p15:guide>
        <p15:guide id="3" pos="554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37321817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6"/>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27262724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0708691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6"/>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grpSp>
        <p:nvGrpSpPr>
          <p:cNvPr id="6" name="Group 5">
            <a:extLst>
              <a:ext uri="{FF2B5EF4-FFF2-40B4-BE49-F238E27FC236}">
                <a16:creationId xmlns:a16="http://schemas.microsoft.com/office/drawing/2014/main" id="{AE9F3002-80B5-44B6-3F3D-747CF0D33100}"/>
              </a:ext>
            </a:extLst>
          </p:cNvPr>
          <p:cNvGrpSpPr/>
          <p:nvPr userDrawn="1"/>
        </p:nvGrpSpPr>
        <p:grpSpPr bwMode="gray">
          <a:xfrm>
            <a:off x="9066230" y="6150623"/>
            <a:ext cx="2515543" cy="569706"/>
            <a:chOff x="5525840" y="3530278"/>
            <a:chExt cx="1886657" cy="569706"/>
          </a:xfrm>
        </p:grpSpPr>
        <p:sp>
          <p:nvSpPr>
            <p:cNvPr id="8" name="TextBox 7">
              <a:extLst>
                <a:ext uri="{FF2B5EF4-FFF2-40B4-BE49-F238E27FC236}">
                  <a16:creationId xmlns:a16="http://schemas.microsoft.com/office/drawing/2014/main" id="{B7BF8B1B-F548-5EE2-59C2-5AABDC412749}"/>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9" name="Group 8">
              <a:extLst>
                <a:ext uri="{FF2B5EF4-FFF2-40B4-BE49-F238E27FC236}">
                  <a16:creationId xmlns:a16="http://schemas.microsoft.com/office/drawing/2014/main" id="{08FFB544-BDF6-8CF9-138A-8BC551253F56}"/>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5C31EE96-D171-A788-BA89-3028686FA51B}"/>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0194DF7C-653F-2D35-AE6E-42CF2D4720B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5140398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30305408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6966672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4FBE34-D7D8-E3DE-AC1A-260729353E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F73386E-2233-922D-CAB1-FEB5992040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30ED4A-2560-5971-3A1C-DC62832717A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5F1881B-31B6-C2B1-2F3D-4A45F8AE7036}"/>
              </a:ext>
            </a:extLst>
          </p:cNvPr>
          <p:cNvSpPr>
            <a:spLocks noGrp="1"/>
          </p:cNvSpPr>
          <p:nvPr>
            <p:ph type="dt" sz="half" idx="10"/>
          </p:nvPr>
        </p:nvSpPr>
        <p:spPr/>
        <p:txBody>
          <a:bodyPr/>
          <a:lstStyle/>
          <a:p>
            <a:fld id="{A4DFAF99-672D-4536-B69E-619E30BDF832}" type="datetimeFigureOut">
              <a:rPr lang="en-US" smtClean="0"/>
              <a:t>8/27/2024</a:t>
            </a:fld>
            <a:endParaRPr lang="en-US"/>
          </a:p>
        </p:txBody>
      </p:sp>
      <p:sp>
        <p:nvSpPr>
          <p:cNvPr id="6" name="Footer Placeholder 5">
            <a:extLst>
              <a:ext uri="{FF2B5EF4-FFF2-40B4-BE49-F238E27FC236}">
                <a16:creationId xmlns:a16="http://schemas.microsoft.com/office/drawing/2014/main" id="{BDD93B25-EBDC-A833-3174-9DFE62AF18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825726-F2FA-5F61-1B7C-713A26068F33}"/>
              </a:ext>
            </a:extLst>
          </p:cNvPr>
          <p:cNvSpPr>
            <a:spLocks noGrp="1"/>
          </p:cNvSpPr>
          <p:nvPr>
            <p:ph type="sldNum" sz="quarter" idx="12"/>
          </p:nvPr>
        </p:nvSpPr>
        <p:spPr/>
        <p:txBody>
          <a:bodyPr/>
          <a:lstStyle/>
          <a:p>
            <a:fld id="{C7692B91-5C3A-407C-8D38-F29469363295}" type="slidenum">
              <a:rPr lang="en-US" smtClean="0"/>
              <a:t>‹#›</a:t>
            </a:fld>
            <a:endParaRPr lang="en-US"/>
          </a:p>
        </p:txBody>
      </p:sp>
    </p:spTree>
    <p:extLst>
      <p:ext uri="{BB962C8B-B14F-4D97-AF65-F5344CB8AC3E}">
        <p14:creationId xmlns:p14="http://schemas.microsoft.com/office/powerpoint/2010/main" val="33479088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0"/>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7941836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grpSp>
        <p:nvGrpSpPr>
          <p:cNvPr id="3" name="Group 2">
            <a:extLst>
              <a:ext uri="{FF2B5EF4-FFF2-40B4-BE49-F238E27FC236}">
                <a16:creationId xmlns:a16="http://schemas.microsoft.com/office/drawing/2014/main" id="{DB433826-1358-EEEF-2440-6D45281EBAAC}"/>
              </a:ext>
            </a:extLst>
          </p:cNvPr>
          <p:cNvGrpSpPr/>
          <p:nvPr userDrawn="1"/>
        </p:nvGrpSpPr>
        <p:grpSpPr bwMode="gray">
          <a:xfrm>
            <a:off x="9066230" y="6150623"/>
            <a:ext cx="2515543" cy="569706"/>
            <a:chOff x="5525840" y="3530278"/>
            <a:chExt cx="1886657" cy="569706"/>
          </a:xfrm>
        </p:grpSpPr>
        <p:sp>
          <p:nvSpPr>
            <p:cNvPr id="4" name="TextBox 3">
              <a:extLst>
                <a:ext uri="{FF2B5EF4-FFF2-40B4-BE49-F238E27FC236}">
                  <a16:creationId xmlns:a16="http://schemas.microsoft.com/office/drawing/2014/main" id="{16E7D80F-CAD2-AAC9-2F14-162C89E5FE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7" name="Group 6">
              <a:extLst>
                <a:ext uri="{FF2B5EF4-FFF2-40B4-BE49-F238E27FC236}">
                  <a16:creationId xmlns:a16="http://schemas.microsoft.com/office/drawing/2014/main" id="{48AF674A-DE8F-E43D-7BC6-1B7F09567430}"/>
                </a:ext>
              </a:extLst>
            </p:cNvPr>
            <p:cNvGrpSpPr/>
            <p:nvPr/>
          </p:nvGrpSpPr>
          <p:grpSpPr bwMode="gray">
            <a:xfrm>
              <a:off x="5525840" y="3618320"/>
              <a:ext cx="1879457" cy="481664"/>
              <a:chOff x="5525840" y="3618320"/>
              <a:chExt cx="1879457" cy="481664"/>
            </a:xfrm>
          </p:grpSpPr>
          <p:sp>
            <p:nvSpPr>
              <p:cNvPr id="10" name="TextBox 9">
                <a:extLst>
                  <a:ext uri="{FF2B5EF4-FFF2-40B4-BE49-F238E27FC236}">
                    <a16:creationId xmlns:a16="http://schemas.microsoft.com/office/drawing/2014/main" id="{B65D1AE1-3A62-4B24-FA76-10E8A5E3EA7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2BCA4763-326D-DAE6-3659-8318A5DD5400}"/>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42360637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_light blue+imag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person&#10;&#10;Description automatically generated">
            <a:extLst>
              <a:ext uri="{FF2B5EF4-FFF2-40B4-BE49-F238E27FC236}">
                <a16:creationId xmlns:a16="http://schemas.microsoft.com/office/drawing/2014/main" id="{358AE12E-C068-CD44-A709-794E11A2B7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9499" y="-51762"/>
            <a:ext cx="11102500" cy="6909762"/>
          </a:xfrm>
          <a:prstGeom prst="rect">
            <a:avLst/>
          </a:prstGeom>
        </p:spPr>
      </p:pic>
      <p:pic>
        <p:nvPicPr>
          <p:cNvPr id="9" name="Picture 8" descr="World Health Organization logo ">
            <a:extLst>
              <a:ext uri="{FF2B5EF4-FFF2-40B4-BE49-F238E27FC236}">
                <a16:creationId xmlns:a16="http://schemas.microsoft.com/office/drawing/2014/main" id="{185721B3-1393-424A-8F5B-131AC862532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4876041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90053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9460"/>
          </a:xfrm>
          <a:solidFill>
            <a:srgbClr val="C9DDF3">
              <a:alpha val="80000"/>
            </a:srgbClr>
          </a:solidFill>
        </p:spPr>
        <p:txBody>
          <a:bodyPr lIns="144000" anchor="t" anchorCtr="0">
            <a:spAutoFit/>
          </a:bodyPr>
          <a:lstStyle>
            <a:lvl1pPr>
              <a:defRPr sz="6000">
                <a:solidFill>
                  <a:schemeClr val="tx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9F263B6D-8996-474F-BAA8-575C05E6660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4079542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DDEFF9">
              <a:alpha val="80000"/>
            </a:srgbClr>
          </a:solidFill>
        </p:spPr>
        <p:txBody>
          <a:bodyPr wrap="square"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9040978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t="-1"/>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D8591945-98AC-6ECD-0960-38810276F97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6540900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88" y="0"/>
            <a:ext cx="12191999"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0C9FB247-3197-0943-93E9-189420DEBD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6769116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69980E6F-8A3C-16B6-F34B-10A38190A99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7785284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5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199" y="685801"/>
            <a:ext cx="6982691" cy="1669470"/>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8509153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6_Section Header_photo">
    <p:bg>
      <p:bgPr>
        <a:solidFill>
          <a:srgbClr val="00205C"/>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AD15AB5-9F8B-CF48-0A1A-FEDEE943A15C}"/>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5150742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87BEA-FCBC-1C94-599A-65690C87A90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A786CBA-C617-FF80-43CE-6C988FB06EB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A82EBB-366D-119D-08B9-911FD48BDC3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27C7CAF-6651-22F0-7FC5-CEFC8FADF6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9D833C-A4D6-2EA8-393B-F6DCF463DEC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1BEF26A-B74F-203A-B2D8-4ADBFCECB649}"/>
              </a:ext>
            </a:extLst>
          </p:cNvPr>
          <p:cNvSpPr>
            <a:spLocks noGrp="1"/>
          </p:cNvSpPr>
          <p:nvPr>
            <p:ph type="dt" sz="half" idx="10"/>
          </p:nvPr>
        </p:nvSpPr>
        <p:spPr/>
        <p:txBody>
          <a:bodyPr/>
          <a:lstStyle/>
          <a:p>
            <a:fld id="{A4DFAF99-672D-4536-B69E-619E30BDF832}" type="datetimeFigureOut">
              <a:rPr lang="en-US" smtClean="0"/>
              <a:t>8/27/2024</a:t>
            </a:fld>
            <a:endParaRPr lang="en-US"/>
          </a:p>
        </p:txBody>
      </p:sp>
      <p:sp>
        <p:nvSpPr>
          <p:cNvPr id="8" name="Footer Placeholder 7">
            <a:extLst>
              <a:ext uri="{FF2B5EF4-FFF2-40B4-BE49-F238E27FC236}">
                <a16:creationId xmlns:a16="http://schemas.microsoft.com/office/drawing/2014/main" id="{904863AC-678D-B2E8-172F-2AC3FD1A0BB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6E99B1A-0578-1AC9-1BCE-E82FC3EF4C42}"/>
              </a:ext>
            </a:extLst>
          </p:cNvPr>
          <p:cNvSpPr>
            <a:spLocks noGrp="1"/>
          </p:cNvSpPr>
          <p:nvPr>
            <p:ph type="sldNum" sz="quarter" idx="12"/>
          </p:nvPr>
        </p:nvSpPr>
        <p:spPr/>
        <p:txBody>
          <a:bodyPr/>
          <a:lstStyle/>
          <a:p>
            <a:fld id="{C7692B91-5C3A-407C-8D38-F29469363295}" type="slidenum">
              <a:rPr lang="en-US" smtClean="0"/>
              <a:t>‹#›</a:t>
            </a:fld>
            <a:endParaRPr lang="en-US"/>
          </a:p>
        </p:txBody>
      </p:sp>
    </p:spTree>
    <p:extLst>
      <p:ext uri="{BB962C8B-B14F-4D97-AF65-F5344CB8AC3E}">
        <p14:creationId xmlns:p14="http://schemas.microsoft.com/office/powerpoint/2010/main" val="20591040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2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939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652B58DC-A02B-F0B1-89A3-2012646CE31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6605384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1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8181873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3453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1661993"/>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1017618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492990"/>
          </a:xfrm>
          <a:solidFill>
            <a:srgbClr val="C9DDF3">
              <a:alpha val="80000"/>
            </a:srgbClr>
          </a:solidFill>
        </p:spPr>
        <p:txBody>
          <a:bodyPr lIns="144000" anchor="t" anchorCtr="0">
            <a:sp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0674345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9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a:solidFill>
            <a:srgbClr val="C9DDF3">
              <a:alpha val="80000"/>
            </a:srgbClr>
          </a:solidFill>
        </p:spPr>
        <p:txBody>
          <a:bodyPr lIns="144000"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9696090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0" y="1846372"/>
            <a:ext cx="9700351" cy="2743200"/>
          </a:xfrm>
        </p:spPr>
        <p:txBody>
          <a:bodyPr anchor="t" anchorCtr="0">
            <a:normAutofit/>
          </a:bodyPr>
          <a:lstStyle>
            <a:lvl1pPr marL="228600" indent="-228600">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734772"/>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31213952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1574800"/>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10490107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grpSp>
        <p:nvGrpSpPr>
          <p:cNvPr id="2" name="Group 1">
            <a:extLst>
              <a:ext uri="{FF2B5EF4-FFF2-40B4-BE49-F238E27FC236}">
                <a16:creationId xmlns:a16="http://schemas.microsoft.com/office/drawing/2014/main" id="{05C622BB-DF03-90FB-3644-0345AE2B7A23}"/>
              </a:ext>
            </a:extLst>
          </p:cNvPr>
          <p:cNvGrpSpPr/>
          <p:nvPr userDrawn="1"/>
        </p:nvGrpSpPr>
        <p:grpSpPr bwMode="gray">
          <a:xfrm>
            <a:off x="9066230" y="6150623"/>
            <a:ext cx="2515543" cy="569706"/>
            <a:chOff x="5525840" y="3530278"/>
            <a:chExt cx="1886657" cy="569706"/>
          </a:xfrm>
        </p:grpSpPr>
        <p:sp>
          <p:nvSpPr>
            <p:cNvPr id="3" name="TextBox 2">
              <a:extLst>
                <a:ext uri="{FF2B5EF4-FFF2-40B4-BE49-F238E27FC236}">
                  <a16:creationId xmlns:a16="http://schemas.microsoft.com/office/drawing/2014/main" id="{638791E5-93E4-EC81-F2B5-D80857BA630B}"/>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58E4568C-D1D4-56EE-4ED8-FA0540BF2830}"/>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3A276C3-B23F-E2FA-F41E-650DF128C3B1}"/>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FCF6A34C-1A83-66B9-3CAD-C8D967BE4C3F}"/>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8694472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4" name="Group 3">
            <a:extLst>
              <a:ext uri="{FF2B5EF4-FFF2-40B4-BE49-F238E27FC236}">
                <a16:creationId xmlns:a16="http://schemas.microsoft.com/office/drawing/2014/main" id="{6E4B61D7-58A1-6402-AD27-44C951197CDE}"/>
              </a:ext>
            </a:extLst>
          </p:cNvPr>
          <p:cNvGrpSpPr/>
          <p:nvPr userDrawn="1"/>
        </p:nvGrpSpPr>
        <p:grpSpPr bwMode="gray">
          <a:xfrm>
            <a:off x="9066230" y="6000906"/>
            <a:ext cx="2515543" cy="569706"/>
            <a:chOff x="5525840" y="3530278"/>
            <a:chExt cx="1886657" cy="569706"/>
          </a:xfrm>
        </p:grpSpPr>
        <p:sp>
          <p:nvSpPr>
            <p:cNvPr id="9" name="TextBox 8">
              <a:extLst>
                <a:ext uri="{FF2B5EF4-FFF2-40B4-BE49-F238E27FC236}">
                  <a16:creationId xmlns:a16="http://schemas.microsoft.com/office/drawing/2014/main" id="{029E2931-BD83-BE34-2D35-33538AA24BAC}"/>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CC2F6DF-B53D-58CE-A841-5677F811E2AD}"/>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CC5FAA18-5A39-BF80-C615-5F33C842943A}"/>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34926F52-327F-A7CD-B51A-78A1AA0EC71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9264076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3"/>
            <a:ext cx="3657600" cy="882921"/>
          </a:xfrm>
        </p:spPr>
        <p:txBody>
          <a:bodyPr>
            <a:normAutofit/>
          </a:bodyPr>
          <a:lstStyle>
            <a:lvl1pPr marL="0" indent="0">
              <a:buNone/>
              <a:defRPr sz="1200" b="0">
                <a:latin typeface="+mj-lt"/>
              </a:defRPr>
            </a:lvl1pPr>
          </a:lstStyle>
          <a:p>
            <a:pPr lvl="0"/>
            <a:r>
              <a:rPr lang="en-US"/>
              <a:t>Click to edit Master text styles</a:t>
            </a:r>
          </a:p>
        </p:txBody>
      </p:sp>
      <p:grpSp>
        <p:nvGrpSpPr>
          <p:cNvPr id="4" name="Group 3">
            <a:extLst>
              <a:ext uri="{FF2B5EF4-FFF2-40B4-BE49-F238E27FC236}">
                <a16:creationId xmlns:a16="http://schemas.microsoft.com/office/drawing/2014/main" id="{38030DC0-230D-36A8-4B91-61E6C083804F}"/>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1EF4EDCF-6A1A-FC33-0223-40B098B753C3}"/>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2F84C012-B11B-653B-54F1-55B3A12FA02B}"/>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F8A76333-103C-7C28-03BB-8F2A8070301E}"/>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A3587607-4CF7-BD9D-9387-2B690463DEB8}"/>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4235681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CD2D8-A927-FF30-78C7-C18C11867B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B2531D-56C4-A6AA-A613-EB9489F5BBF0}"/>
              </a:ext>
            </a:extLst>
          </p:cNvPr>
          <p:cNvSpPr>
            <a:spLocks noGrp="1"/>
          </p:cNvSpPr>
          <p:nvPr>
            <p:ph type="dt" sz="half" idx="10"/>
          </p:nvPr>
        </p:nvSpPr>
        <p:spPr/>
        <p:txBody>
          <a:bodyPr/>
          <a:lstStyle/>
          <a:p>
            <a:fld id="{A4DFAF99-672D-4536-B69E-619E30BDF832}" type="datetimeFigureOut">
              <a:rPr lang="en-US" smtClean="0"/>
              <a:t>8/27/2024</a:t>
            </a:fld>
            <a:endParaRPr lang="en-US"/>
          </a:p>
        </p:txBody>
      </p:sp>
      <p:sp>
        <p:nvSpPr>
          <p:cNvPr id="4" name="Footer Placeholder 3">
            <a:extLst>
              <a:ext uri="{FF2B5EF4-FFF2-40B4-BE49-F238E27FC236}">
                <a16:creationId xmlns:a16="http://schemas.microsoft.com/office/drawing/2014/main" id="{248B9BE3-6D88-28F1-10AF-79E0C9F336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D59A57E-851B-600D-876B-BD344D5955D0}"/>
              </a:ext>
            </a:extLst>
          </p:cNvPr>
          <p:cNvSpPr>
            <a:spLocks noGrp="1"/>
          </p:cNvSpPr>
          <p:nvPr>
            <p:ph type="sldNum" sz="quarter" idx="12"/>
          </p:nvPr>
        </p:nvSpPr>
        <p:spPr/>
        <p:txBody>
          <a:bodyPr/>
          <a:lstStyle/>
          <a:p>
            <a:fld id="{C7692B91-5C3A-407C-8D38-F29469363295}" type="slidenum">
              <a:rPr lang="en-US" smtClean="0"/>
              <a:t>‹#›</a:t>
            </a:fld>
            <a:endParaRPr lang="en-US"/>
          </a:p>
        </p:txBody>
      </p:sp>
    </p:spTree>
    <p:extLst>
      <p:ext uri="{BB962C8B-B14F-4D97-AF65-F5344CB8AC3E}">
        <p14:creationId xmlns:p14="http://schemas.microsoft.com/office/powerpoint/2010/main" val="35544754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200" indent="0">
              <a:buNone/>
              <a:defRPr sz="2000">
                <a:solidFill>
                  <a:srgbClr val="00205C"/>
                </a:solidFill>
              </a:defRPr>
            </a:lvl2pPr>
            <a:lvl3pPr marL="914400" indent="0">
              <a:buNone/>
              <a:defRPr sz="2000">
                <a:solidFill>
                  <a:srgbClr val="00205C"/>
                </a:solidFill>
              </a:defRPr>
            </a:lvl3pPr>
            <a:lvl4pPr marL="1371600" indent="0">
              <a:buNone/>
              <a:defRPr sz="2000">
                <a:solidFill>
                  <a:srgbClr val="00205C"/>
                </a:solidFill>
              </a:defRPr>
            </a:lvl4pPr>
            <a:lvl5pPr marL="1828800"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World Health Organization logo ">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4" name="Group 3">
            <a:extLst>
              <a:ext uri="{FF2B5EF4-FFF2-40B4-BE49-F238E27FC236}">
                <a16:creationId xmlns:a16="http://schemas.microsoft.com/office/drawing/2014/main" id="{761B2693-CD48-8C19-2CE7-2C2744CB1428}"/>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4A68D0AC-A761-5D2F-553A-16ADF2479FC3}"/>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5DB3EDC-0B4D-0F95-0DE6-30262EE39F6E}"/>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1D3AD520-724F-81F6-DF70-29E2B85ABE0F}"/>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F0E7C653-F52E-76F1-4BE0-ED1333642D7B}"/>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0818442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3" name="Group 2">
            <a:extLst>
              <a:ext uri="{FF2B5EF4-FFF2-40B4-BE49-F238E27FC236}">
                <a16:creationId xmlns:a16="http://schemas.microsoft.com/office/drawing/2014/main" id="{94CAD921-B62B-B3CE-B992-C1A001AF2E71}"/>
              </a:ext>
            </a:extLst>
          </p:cNvPr>
          <p:cNvGrpSpPr/>
          <p:nvPr userDrawn="1"/>
        </p:nvGrpSpPr>
        <p:grpSpPr bwMode="gray">
          <a:xfrm>
            <a:off x="9066230" y="6150623"/>
            <a:ext cx="2515543" cy="569706"/>
            <a:chOff x="5525840" y="3530278"/>
            <a:chExt cx="1886657" cy="569706"/>
          </a:xfrm>
        </p:grpSpPr>
        <p:sp>
          <p:nvSpPr>
            <p:cNvPr id="8" name="TextBox 7">
              <a:extLst>
                <a:ext uri="{FF2B5EF4-FFF2-40B4-BE49-F238E27FC236}">
                  <a16:creationId xmlns:a16="http://schemas.microsoft.com/office/drawing/2014/main" id="{EBDDF05E-EFF5-0CC0-B4B6-A7314B891D9C}"/>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9" name="Group 8">
              <a:extLst>
                <a:ext uri="{FF2B5EF4-FFF2-40B4-BE49-F238E27FC236}">
                  <a16:creationId xmlns:a16="http://schemas.microsoft.com/office/drawing/2014/main" id="{B8E9038E-D2E7-31C9-A3B3-0A843F5B5831}"/>
                </a:ext>
              </a:extLst>
            </p:cNvPr>
            <p:cNvGrpSpPr/>
            <p:nvPr/>
          </p:nvGrpSpPr>
          <p:grpSpPr bwMode="gray">
            <a:xfrm>
              <a:off x="5525840" y="3618320"/>
              <a:ext cx="1879457" cy="481664"/>
              <a:chOff x="5525840" y="3618320"/>
              <a:chExt cx="1879457" cy="481664"/>
            </a:xfrm>
          </p:grpSpPr>
          <p:sp>
            <p:nvSpPr>
              <p:cNvPr id="10" name="TextBox 9">
                <a:extLst>
                  <a:ext uri="{FF2B5EF4-FFF2-40B4-BE49-F238E27FC236}">
                    <a16:creationId xmlns:a16="http://schemas.microsoft.com/office/drawing/2014/main" id="{7C425B1E-A301-AD63-854F-5B2AC5093A53}"/>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E6014833-B067-1FEE-7E67-CE904B7E1A1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25681819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6200172" y="6397384"/>
            <a:ext cx="5154592" cy="324091"/>
          </a:xfrm>
          <a:prstGeom prst="rect">
            <a:avLst/>
          </a:prstGeom>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8854024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404128"/>
            <a:ext cx="5154592" cy="320675"/>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4" name="Group 3">
            <a:extLst>
              <a:ext uri="{FF2B5EF4-FFF2-40B4-BE49-F238E27FC236}">
                <a16:creationId xmlns:a16="http://schemas.microsoft.com/office/drawing/2014/main" id="{CFCD2E78-5132-A696-9B63-A1354D59A563}"/>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D3ABF59D-5D70-FDF0-CF80-EFD5B66B2394}"/>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485AC816-35B7-250E-E3D0-E5F0F263FF52}"/>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0A25F117-DC37-51D8-D88F-F82F039CEA2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001FD211-B43B-D568-D083-84DE589EC406}"/>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16165098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a:xfrm>
            <a:off x="6200172" y="6397384"/>
            <a:ext cx="5154592" cy="324091"/>
          </a:xfrm>
          <a:prstGeom prst="rect">
            <a:avLst/>
          </a:prstGeom>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5" name="Group 4">
            <a:extLst>
              <a:ext uri="{FF2B5EF4-FFF2-40B4-BE49-F238E27FC236}">
                <a16:creationId xmlns:a16="http://schemas.microsoft.com/office/drawing/2014/main" id="{131489CF-008F-CD8F-2F30-1A30512F91B8}"/>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B1855CDD-3340-0F87-ABE0-D283F07C72DD}"/>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C9589F93-EEA7-90B4-ACC8-8C61BFD0BA0C}"/>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3B42C3A4-878C-F727-CAA4-85F30192CB83}"/>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146B9C0B-2370-6DA3-ADC9-1389C8039D87}"/>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5230643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5" name="Group 4">
            <a:extLst>
              <a:ext uri="{FF2B5EF4-FFF2-40B4-BE49-F238E27FC236}">
                <a16:creationId xmlns:a16="http://schemas.microsoft.com/office/drawing/2014/main" id="{C4E60EDD-C845-6BBF-4279-8672AF22F9F1}"/>
              </a:ext>
            </a:extLst>
          </p:cNvPr>
          <p:cNvGrpSpPr/>
          <p:nvPr userDrawn="1"/>
        </p:nvGrpSpPr>
        <p:grpSpPr bwMode="gray">
          <a:xfrm>
            <a:off x="9066230" y="6150623"/>
            <a:ext cx="2515543" cy="569706"/>
            <a:chOff x="5525840" y="3530278"/>
            <a:chExt cx="1886657" cy="569706"/>
          </a:xfrm>
        </p:grpSpPr>
        <p:sp>
          <p:nvSpPr>
            <p:cNvPr id="6" name="TextBox 5">
              <a:extLst>
                <a:ext uri="{FF2B5EF4-FFF2-40B4-BE49-F238E27FC236}">
                  <a16:creationId xmlns:a16="http://schemas.microsoft.com/office/drawing/2014/main" id="{321F45C6-72A5-B8CB-E48E-EB50F4B5E754}"/>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C3B0D2E-F58F-988B-7332-BAB5352AF35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986EBC08-8CDD-1D25-3BC9-89E85C1F9E0B}"/>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523D0E75-2B24-4997-99B6-00619ABB5FEE}"/>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5697105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4" name="Group 3">
            <a:extLst>
              <a:ext uri="{FF2B5EF4-FFF2-40B4-BE49-F238E27FC236}">
                <a16:creationId xmlns:a16="http://schemas.microsoft.com/office/drawing/2014/main" id="{3A78ACCA-FB72-4FF4-6D0E-E6B413A6EE09}"/>
              </a:ext>
            </a:extLst>
          </p:cNvPr>
          <p:cNvGrpSpPr/>
          <p:nvPr userDrawn="1"/>
        </p:nvGrpSpPr>
        <p:grpSpPr bwMode="gray">
          <a:xfrm>
            <a:off x="9066230" y="6150623"/>
            <a:ext cx="2515543" cy="569706"/>
            <a:chOff x="5525840" y="3530278"/>
            <a:chExt cx="1886657" cy="569706"/>
          </a:xfrm>
        </p:grpSpPr>
        <p:sp>
          <p:nvSpPr>
            <p:cNvPr id="5" name="TextBox 4">
              <a:extLst>
                <a:ext uri="{FF2B5EF4-FFF2-40B4-BE49-F238E27FC236}">
                  <a16:creationId xmlns:a16="http://schemas.microsoft.com/office/drawing/2014/main" id="{33DFE3D6-9944-367F-B2D7-2CBC03A0DDD4}"/>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6" name="Group 5">
              <a:extLst>
                <a:ext uri="{FF2B5EF4-FFF2-40B4-BE49-F238E27FC236}">
                  <a16:creationId xmlns:a16="http://schemas.microsoft.com/office/drawing/2014/main" id="{30B4D964-4CE3-20F7-B1AB-B83F29141EAB}"/>
                </a:ext>
              </a:extLst>
            </p:cNvPr>
            <p:cNvGrpSpPr/>
            <p:nvPr/>
          </p:nvGrpSpPr>
          <p:grpSpPr bwMode="gray">
            <a:xfrm>
              <a:off x="5525840" y="3618320"/>
              <a:ext cx="1879457" cy="481664"/>
              <a:chOff x="5525840" y="3618320"/>
              <a:chExt cx="1879457" cy="481664"/>
            </a:xfrm>
          </p:grpSpPr>
          <p:sp>
            <p:nvSpPr>
              <p:cNvPr id="9" name="TextBox 8">
                <a:extLst>
                  <a:ext uri="{FF2B5EF4-FFF2-40B4-BE49-F238E27FC236}">
                    <a16:creationId xmlns:a16="http://schemas.microsoft.com/office/drawing/2014/main" id="{9A5173FF-629D-08FF-F5E4-EB36D1242E52}"/>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1F8826A7-CA0E-0835-F938-E5AD35D01952}"/>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17323979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4" name="Group 3">
            <a:extLst>
              <a:ext uri="{FF2B5EF4-FFF2-40B4-BE49-F238E27FC236}">
                <a16:creationId xmlns:a16="http://schemas.microsoft.com/office/drawing/2014/main" id="{4E8F902C-DD16-2C26-09FB-0A8F73940BBB}"/>
              </a:ext>
            </a:extLst>
          </p:cNvPr>
          <p:cNvGrpSpPr/>
          <p:nvPr userDrawn="1"/>
        </p:nvGrpSpPr>
        <p:grpSpPr bwMode="gray">
          <a:xfrm>
            <a:off x="9066230" y="6150623"/>
            <a:ext cx="2515543" cy="569706"/>
            <a:chOff x="5525840" y="3530278"/>
            <a:chExt cx="1886657" cy="569706"/>
          </a:xfrm>
        </p:grpSpPr>
        <p:sp>
          <p:nvSpPr>
            <p:cNvPr id="5" name="TextBox 4">
              <a:extLst>
                <a:ext uri="{FF2B5EF4-FFF2-40B4-BE49-F238E27FC236}">
                  <a16:creationId xmlns:a16="http://schemas.microsoft.com/office/drawing/2014/main" id="{A57B2654-A9AA-0129-9721-A6067B241EEA}"/>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6" name="Group 5">
              <a:extLst>
                <a:ext uri="{FF2B5EF4-FFF2-40B4-BE49-F238E27FC236}">
                  <a16:creationId xmlns:a16="http://schemas.microsoft.com/office/drawing/2014/main" id="{456513DA-9D4B-7FBB-6184-A8A64CED92A3}"/>
                </a:ext>
              </a:extLst>
            </p:cNvPr>
            <p:cNvGrpSpPr/>
            <p:nvPr/>
          </p:nvGrpSpPr>
          <p:grpSpPr bwMode="gray">
            <a:xfrm>
              <a:off x="5525840" y="3618320"/>
              <a:ext cx="1879457" cy="481664"/>
              <a:chOff x="5525840" y="3618320"/>
              <a:chExt cx="1879457" cy="481664"/>
            </a:xfrm>
          </p:grpSpPr>
          <p:sp>
            <p:nvSpPr>
              <p:cNvPr id="9" name="TextBox 8">
                <a:extLst>
                  <a:ext uri="{FF2B5EF4-FFF2-40B4-BE49-F238E27FC236}">
                    <a16:creationId xmlns:a16="http://schemas.microsoft.com/office/drawing/2014/main" id="{938307B7-018F-C4EF-AD93-5EF9B1A5DEC3}"/>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2DBCA165-27C1-228C-C1E4-B04ABF4B8B96}"/>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1983863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2"/>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2998280"/>
            <a:ext cx="5486399"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13856413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0"/>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1"/>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4" name="Picture 13" descr="World Health Organization logo ">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36880635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EFD222-227B-86D9-DF4C-C78F88C22FCD}"/>
              </a:ext>
            </a:extLst>
          </p:cNvPr>
          <p:cNvSpPr>
            <a:spLocks noGrp="1"/>
          </p:cNvSpPr>
          <p:nvPr>
            <p:ph type="dt" sz="half" idx="10"/>
          </p:nvPr>
        </p:nvSpPr>
        <p:spPr/>
        <p:txBody>
          <a:bodyPr/>
          <a:lstStyle/>
          <a:p>
            <a:fld id="{A4DFAF99-672D-4536-B69E-619E30BDF832}" type="datetimeFigureOut">
              <a:rPr lang="en-US" smtClean="0"/>
              <a:t>8/27/2024</a:t>
            </a:fld>
            <a:endParaRPr lang="en-US"/>
          </a:p>
        </p:txBody>
      </p:sp>
      <p:sp>
        <p:nvSpPr>
          <p:cNvPr id="3" name="Footer Placeholder 2">
            <a:extLst>
              <a:ext uri="{FF2B5EF4-FFF2-40B4-BE49-F238E27FC236}">
                <a16:creationId xmlns:a16="http://schemas.microsoft.com/office/drawing/2014/main" id="{260342B9-325B-4C2C-BC13-9013F438E0C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DEE55F1-E49D-FEEB-24BD-D8CDB62C3BF3}"/>
              </a:ext>
            </a:extLst>
          </p:cNvPr>
          <p:cNvSpPr>
            <a:spLocks noGrp="1"/>
          </p:cNvSpPr>
          <p:nvPr>
            <p:ph type="sldNum" sz="quarter" idx="12"/>
          </p:nvPr>
        </p:nvSpPr>
        <p:spPr/>
        <p:txBody>
          <a:bodyPr/>
          <a:lstStyle/>
          <a:p>
            <a:fld id="{C7692B91-5C3A-407C-8D38-F29469363295}" type="slidenum">
              <a:rPr lang="en-US" smtClean="0"/>
              <a:t>‹#›</a:t>
            </a:fld>
            <a:endParaRPr lang="en-US"/>
          </a:p>
        </p:txBody>
      </p:sp>
    </p:spTree>
    <p:extLst>
      <p:ext uri="{BB962C8B-B14F-4D97-AF65-F5344CB8AC3E}">
        <p14:creationId xmlns:p14="http://schemas.microsoft.com/office/powerpoint/2010/main" val="37402232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457200"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5" name="Group 4">
            <a:extLst>
              <a:ext uri="{FF2B5EF4-FFF2-40B4-BE49-F238E27FC236}">
                <a16:creationId xmlns:a16="http://schemas.microsoft.com/office/drawing/2014/main" id="{60CBD0ED-02E6-246B-45FF-969854005907}"/>
              </a:ext>
            </a:extLst>
          </p:cNvPr>
          <p:cNvGrpSpPr/>
          <p:nvPr userDrawn="1"/>
        </p:nvGrpSpPr>
        <p:grpSpPr bwMode="gray">
          <a:xfrm>
            <a:off x="9066230" y="6000906"/>
            <a:ext cx="2515543" cy="569706"/>
            <a:chOff x="5525840" y="3530278"/>
            <a:chExt cx="1886657" cy="569706"/>
          </a:xfrm>
        </p:grpSpPr>
        <p:sp>
          <p:nvSpPr>
            <p:cNvPr id="6" name="TextBox 5">
              <a:extLst>
                <a:ext uri="{FF2B5EF4-FFF2-40B4-BE49-F238E27FC236}">
                  <a16:creationId xmlns:a16="http://schemas.microsoft.com/office/drawing/2014/main" id="{3BD45B83-7A52-B2B0-F29D-43B18FB5549A}"/>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40E490CD-9AB5-3D6C-8761-20DC40E75AFF}"/>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10323500-4AA0-BAF2-947A-80FB0F35DCD4}"/>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9B51D632-C3F9-3F08-3EA0-EAC76A5A6959}"/>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10929839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50" indent="-285750">
              <a:spcBef>
                <a:spcPts val="1600"/>
              </a:spcBef>
              <a:buFont typeface="Arial" panose="020B0604020202020204" pitchFamily="34" charset="0"/>
              <a:buChar char="•"/>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5" name="Group 4">
            <a:extLst>
              <a:ext uri="{FF2B5EF4-FFF2-40B4-BE49-F238E27FC236}">
                <a16:creationId xmlns:a16="http://schemas.microsoft.com/office/drawing/2014/main" id="{0C8497B5-5230-C170-B203-1FFD69457A9C}"/>
              </a:ext>
            </a:extLst>
          </p:cNvPr>
          <p:cNvGrpSpPr/>
          <p:nvPr userDrawn="1"/>
        </p:nvGrpSpPr>
        <p:grpSpPr bwMode="gray">
          <a:xfrm>
            <a:off x="9066230" y="6150623"/>
            <a:ext cx="2515543" cy="569706"/>
            <a:chOff x="5525840" y="3530278"/>
            <a:chExt cx="1886657" cy="569706"/>
          </a:xfrm>
        </p:grpSpPr>
        <p:sp>
          <p:nvSpPr>
            <p:cNvPr id="6" name="TextBox 5">
              <a:extLst>
                <a:ext uri="{FF2B5EF4-FFF2-40B4-BE49-F238E27FC236}">
                  <a16:creationId xmlns:a16="http://schemas.microsoft.com/office/drawing/2014/main" id="{993E965E-2F6B-43F0-43C3-2B1E73F672D6}"/>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9933B8C4-400A-F2A1-51C1-777484889950}"/>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8A94EB21-E0B6-00AA-F919-4E9C75FC9D1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3B3D0BA8-2C4F-0DE0-115D-A8231CE44F53}"/>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31823633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grpSp>
        <p:nvGrpSpPr>
          <p:cNvPr id="3" name="Group 2">
            <a:extLst>
              <a:ext uri="{FF2B5EF4-FFF2-40B4-BE49-F238E27FC236}">
                <a16:creationId xmlns:a16="http://schemas.microsoft.com/office/drawing/2014/main" id="{550A64E1-33F2-BB5D-A9D7-E2B070DE4C15}"/>
              </a:ext>
            </a:extLst>
          </p:cNvPr>
          <p:cNvGrpSpPr/>
          <p:nvPr userDrawn="1"/>
        </p:nvGrpSpPr>
        <p:grpSpPr bwMode="gray">
          <a:xfrm>
            <a:off x="9066230" y="6150623"/>
            <a:ext cx="2515543" cy="569706"/>
            <a:chOff x="5525840" y="3530278"/>
            <a:chExt cx="1886657" cy="569706"/>
          </a:xfrm>
        </p:grpSpPr>
        <p:sp>
          <p:nvSpPr>
            <p:cNvPr id="5" name="TextBox 4">
              <a:extLst>
                <a:ext uri="{FF2B5EF4-FFF2-40B4-BE49-F238E27FC236}">
                  <a16:creationId xmlns:a16="http://schemas.microsoft.com/office/drawing/2014/main" id="{F1920C4D-D401-0C4B-8E85-36A494CD3938}"/>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6" name="Group 5">
              <a:extLst>
                <a:ext uri="{FF2B5EF4-FFF2-40B4-BE49-F238E27FC236}">
                  <a16:creationId xmlns:a16="http://schemas.microsoft.com/office/drawing/2014/main" id="{6557B3E4-BF50-3028-1C47-E42DCDDF6EB1}"/>
                </a:ext>
              </a:extLst>
            </p:cNvPr>
            <p:cNvGrpSpPr/>
            <p:nvPr/>
          </p:nvGrpSpPr>
          <p:grpSpPr bwMode="gray">
            <a:xfrm>
              <a:off x="5525840" y="3618320"/>
              <a:ext cx="1879457" cy="481664"/>
              <a:chOff x="5525840" y="3618320"/>
              <a:chExt cx="1879457" cy="481664"/>
            </a:xfrm>
          </p:grpSpPr>
          <p:sp>
            <p:nvSpPr>
              <p:cNvPr id="10" name="TextBox 9">
                <a:extLst>
                  <a:ext uri="{FF2B5EF4-FFF2-40B4-BE49-F238E27FC236}">
                    <a16:creationId xmlns:a16="http://schemas.microsoft.com/office/drawing/2014/main" id="{B7BA17DC-00FD-970D-97C6-69FB3C75C696}"/>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07F6069E-E1FA-A680-E1F0-BAC27E0205DA}"/>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Tree>
    <p:extLst>
      <p:ext uri="{BB962C8B-B14F-4D97-AF65-F5344CB8AC3E}">
        <p14:creationId xmlns:p14="http://schemas.microsoft.com/office/powerpoint/2010/main" val="40055742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0"/>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38529501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964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7"/>
          <p:cNvSpPr>
            <a:spLocks noGrp="1"/>
          </p:cNvSpPr>
          <p:nvPr>
            <p:ph type="title" hasCustomPrompt="1"/>
          </p:nvPr>
        </p:nvSpPr>
        <p:spPr>
          <a:xfrm>
            <a:off x="457079" y="421353"/>
            <a:ext cx="11082528" cy="332399"/>
          </a:xfr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127450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sp>
        <p:nvSpPr>
          <p:cNvPr id="10"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solidFill>
                  <a:srgbClr val="FFFFFF"/>
                </a:solidFill>
              </a:defRPr>
            </a:lvl1pPr>
          </a:lstStyle>
          <a:p>
            <a:pPr lvl="0" latinLnBrk="0"/>
            <a:r>
              <a:rPr lang="en-US"/>
              <a:t>Click to edit Master title style</a:t>
            </a:r>
            <a:endParaRPr lang="en-US" noProof="0"/>
          </a:p>
        </p:txBody>
      </p:sp>
    </p:spTree>
    <p:extLst>
      <p:ext uri="{BB962C8B-B14F-4D97-AF65-F5344CB8AC3E}">
        <p14:creationId xmlns:p14="http://schemas.microsoft.com/office/powerpoint/2010/main" val="3943173905"/>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55759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Image Top &amp; Text Bottom_0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a:t>
            </a:r>
          </a:p>
        </p:txBody>
      </p:sp>
      <p:sp>
        <p:nvSpPr>
          <p:cNvPr id="11" name="Text Placeholder 10"/>
          <p:cNvSpPr>
            <a:spLocks noGrp="1"/>
          </p:cNvSpPr>
          <p:nvPr>
            <p:ph type="body" sz="quarter" idx="10" hasCustomPrompt="1"/>
          </p:nvPr>
        </p:nvSpPr>
        <p:spPr>
          <a:xfrm>
            <a:off x="171450" y="3429000"/>
            <a:ext cx="11763375" cy="2943225"/>
          </a:xfrm>
        </p:spPr>
        <p:txBody>
          <a:bodyPr lIns="45720" rIns="45720" anchor="ctr" anchorCtr="0"/>
          <a:lstStyle>
            <a:lvl1pPr>
              <a:defRPr sz="3000"/>
            </a:lvl1pPr>
            <a:lvl2pPr>
              <a:defRPr sz="3000"/>
            </a:lvl2pPr>
            <a:lvl3pPr>
              <a:defRPr sz="3000"/>
            </a:lvl3pPr>
            <a:lvl4pPr>
              <a:defRPr sz="3000"/>
            </a:lvl4pPr>
            <a:lvl5pPr>
              <a:defRPr sz="3000"/>
            </a:lvl5pPr>
          </a:lstStyle>
          <a:p>
            <a:pPr lvl="0"/>
            <a:r>
              <a:rPr lang="en-US" dirty="0"/>
              <a:t>Click to add objective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3"/>
          <p:cNvSpPr>
            <a:spLocks noGrp="1"/>
          </p:cNvSpPr>
          <p:nvPr>
            <p:ph type="pic" sz="quarter" idx="11"/>
          </p:nvPr>
        </p:nvSpPr>
        <p:spPr>
          <a:xfrm>
            <a:off x="3300412" y="1067090"/>
            <a:ext cx="5210175" cy="2064776"/>
          </a:xfrm>
          <a:solidFill>
            <a:schemeClr val="bg1"/>
          </a:solidFill>
          <a:ln w="38100">
            <a:solidFill>
              <a:srgbClr val="00ADE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197631831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extLst>
    <p:ext uri="{DCECCB84-F9BA-43D5-87BE-67443E8EF086}">
      <p15:sldGuideLst xmlns:p15="http://schemas.microsoft.com/office/powerpoint/2012/main">
        <p15:guide id="1" orient="horz" pos="2160">
          <p15:clr>
            <a:srgbClr val="FBAE40"/>
          </p15:clr>
        </p15:guide>
        <p15:guide id="2" pos="37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31322" t="14326" b="15050"/>
          <a:stretch/>
        </p:blipFill>
        <p:spPr>
          <a:xfrm flipH="1">
            <a:off x="5201276" y="-288"/>
            <a:ext cx="6982757" cy="6858288"/>
          </a:xfrm>
          <a:prstGeom prst="rect">
            <a:avLst/>
          </a:prstGeom>
        </p:spPr>
      </p:pic>
      <p:sp>
        <p:nvSpPr>
          <p:cNvPr id="2" name="Title 1">
            <a:extLst>
              <a:ext uri="{FF2B5EF4-FFF2-40B4-BE49-F238E27FC236}">
                <a16:creationId xmlns:a16="http://schemas.microsoft.com/office/drawing/2014/main" id="{6EE802A4-67EE-412F-A6F8-18DBDB446F4E}"/>
              </a:ext>
            </a:extLst>
          </p:cNvPr>
          <p:cNvSpPr>
            <a:spLocks noGrp="1"/>
          </p:cNvSpPr>
          <p:nvPr>
            <p:ph type="ctrTitle"/>
          </p:nvPr>
        </p:nvSpPr>
        <p:spPr>
          <a:xfrm>
            <a:off x="278557" y="1122363"/>
            <a:ext cx="5565422" cy="2387600"/>
          </a:xfrm>
        </p:spPr>
        <p:txBody>
          <a:bodyPr anchor="b"/>
          <a:lstStyle>
            <a:lvl1pPr algn="ctr">
              <a:defRPr sz="6000" b="0">
                <a:solidFill>
                  <a:srgbClr val="00327A"/>
                </a:solidFill>
                <a:latin typeface="+mn-lt"/>
              </a:defRPr>
            </a:lvl1pPr>
          </a:lstStyle>
          <a:p>
            <a:r>
              <a:rPr lang="en-US"/>
              <a:t>Click to edit Master title style</a:t>
            </a:r>
          </a:p>
        </p:txBody>
      </p:sp>
      <p:sp>
        <p:nvSpPr>
          <p:cNvPr id="3" name="Subtitle 2">
            <a:extLst>
              <a:ext uri="{FF2B5EF4-FFF2-40B4-BE49-F238E27FC236}">
                <a16:creationId xmlns:a16="http://schemas.microsoft.com/office/drawing/2014/main" id="{CD823080-A194-4672-885B-FF2DBCC5DF2C}"/>
              </a:ext>
            </a:extLst>
          </p:cNvPr>
          <p:cNvSpPr>
            <a:spLocks noGrp="1"/>
          </p:cNvSpPr>
          <p:nvPr>
            <p:ph type="subTitle" idx="1"/>
          </p:nvPr>
        </p:nvSpPr>
        <p:spPr>
          <a:xfrm>
            <a:off x="278557" y="3602038"/>
            <a:ext cx="5565422"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08346256-F845-4768-8817-1602AD81B033}"/>
              </a:ext>
            </a:extLst>
          </p:cNvPr>
          <p:cNvSpPr>
            <a:spLocks noGrp="1"/>
          </p:cNvSpPr>
          <p:nvPr>
            <p:ph type="sldNum" sz="quarter" idx="12"/>
          </p:nvPr>
        </p:nvSpPr>
        <p:spPr/>
        <p:txBody>
          <a:bodyPr/>
          <a:lstStyle/>
          <a:p>
            <a:fld id="{9B11AF8B-AA4A-4143-91D6-A716333E3D61}" type="slidenum">
              <a:rPr lang="en-US" smtClean="0"/>
              <a:t>‹#›</a:t>
            </a:fld>
            <a:endParaRPr lang="en-US"/>
          </a:p>
        </p:txBody>
      </p:sp>
    </p:spTree>
    <p:extLst>
      <p:ext uri="{BB962C8B-B14F-4D97-AF65-F5344CB8AC3E}">
        <p14:creationId xmlns:p14="http://schemas.microsoft.com/office/powerpoint/2010/main" val="1868945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62EBC-ACF2-4C4D-979F-C71028AA9DF7}"/>
              </a:ext>
            </a:extLst>
          </p:cNvPr>
          <p:cNvSpPr>
            <a:spLocks noGrp="1"/>
          </p:cNvSpPr>
          <p:nvPr>
            <p:ph type="title"/>
          </p:nvPr>
        </p:nvSpPr>
        <p:spPr/>
        <p:txBody>
          <a:bodyPr/>
          <a:lstStyle>
            <a:lvl1pPr>
              <a:defRPr b="1">
                <a:solidFill>
                  <a:srgbClr val="00327A"/>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FBC4A34-44A5-4C49-B555-3E221490754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BBFF61A-57C4-446F-9319-32B0F0D0D32D}"/>
              </a:ext>
            </a:extLst>
          </p:cNvPr>
          <p:cNvSpPr>
            <a:spLocks noGrp="1"/>
          </p:cNvSpPr>
          <p:nvPr>
            <p:ph type="sldNum" sz="quarter" idx="12"/>
          </p:nvPr>
        </p:nvSpPr>
        <p:spPr/>
        <p:txBody>
          <a:bodyPr/>
          <a:lstStyle/>
          <a:p>
            <a:fld id="{9B11AF8B-AA4A-4143-91D6-A716333E3D61}" type="slidenum">
              <a:rPr lang="en-US" smtClean="0"/>
              <a:t>‹#›</a:t>
            </a:fld>
            <a:endParaRPr lang="en-US"/>
          </a:p>
        </p:txBody>
      </p:sp>
    </p:spTree>
    <p:extLst>
      <p:ext uri="{BB962C8B-B14F-4D97-AF65-F5344CB8AC3E}">
        <p14:creationId xmlns:p14="http://schemas.microsoft.com/office/powerpoint/2010/main" val="21100179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E86B9-3ED0-9715-3F94-AE64FA57C2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1D52F88-FAB2-4244-6B2D-F94FC84203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99306DB-AD54-8B0C-896C-E1CC5A6D8D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EE94B01-1F4A-0119-BCFD-AB89307BDEC0}"/>
              </a:ext>
            </a:extLst>
          </p:cNvPr>
          <p:cNvSpPr>
            <a:spLocks noGrp="1"/>
          </p:cNvSpPr>
          <p:nvPr>
            <p:ph type="dt" sz="half" idx="10"/>
          </p:nvPr>
        </p:nvSpPr>
        <p:spPr/>
        <p:txBody>
          <a:bodyPr/>
          <a:lstStyle/>
          <a:p>
            <a:fld id="{A4DFAF99-672D-4536-B69E-619E30BDF832}" type="datetimeFigureOut">
              <a:rPr lang="en-US" smtClean="0"/>
              <a:t>8/27/2024</a:t>
            </a:fld>
            <a:endParaRPr lang="en-US"/>
          </a:p>
        </p:txBody>
      </p:sp>
      <p:sp>
        <p:nvSpPr>
          <p:cNvPr id="6" name="Footer Placeholder 5">
            <a:extLst>
              <a:ext uri="{FF2B5EF4-FFF2-40B4-BE49-F238E27FC236}">
                <a16:creationId xmlns:a16="http://schemas.microsoft.com/office/drawing/2014/main" id="{079A571F-ACBB-B796-816B-63CB91E2BA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D0FBB5-F719-4677-F7EC-D73D0C404FEA}"/>
              </a:ext>
            </a:extLst>
          </p:cNvPr>
          <p:cNvSpPr>
            <a:spLocks noGrp="1"/>
          </p:cNvSpPr>
          <p:nvPr>
            <p:ph type="sldNum" sz="quarter" idx="12"/>
          </p:nvPr>
        </p:nvSpPr>
        <p:spPr/>
        <p:txBody>
          <a:bodyPr/>
          <a:lstStyle/>
          <a:p>
            <a:fld id="{C7692B91-5C3A-407C-8D38-F29469363295}" type="slidenum">
              <a:rPr lang="en-US" smtClean="0"/>
              <a:t>‹#›</a:t>
            </a:fld>
            <a:endParaRPr lang="en-US"/>
          </a:p>
        </p:txBody>
      </p:sp>
    </p:spTree>
    <p:extLst>
      <p:ext uri="{BB962C8B-B14F-4D97-AF65-F5344CB8AC3E}">
        <p14:creationId xmlns:p14="http://schemas.microsoft.com/office/powerpoint/2010/main" val="39132758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DD4DB-BCDC-4222-A554-4843FDAA1F37}"/>
              </a:ext>
            </a:extLst>
          </p:cNvPr>
          <p:cNvSpPr>
            <a:spLocks noGrp="1"/>
          </p:cNvSpPr>
          <p:nvPr>
            <p:ph type="title"/>
          </p:nvPr>
        </p:nvSpPr>
        <p:spPr>
          <a:xfrm>
            <a:off x="831850" y="1709738"/>
            <a:ext cx="10515600" cy="2852737"/>
          </a:xfrm>
        </p:spPr>
        <p:txBody>
          <a:bodyPr anchor="b"/>
          <a:lstStyle>
            <a:lvl1pPr>
              <a:defRPr sz="6000" b="0">
                <a:solidFill>
                  <a:srgbClr val="00327A"/>
                </a:solidFill>
                <a:latin typeface="+mn-lt"/>
              </a:defRPr>
            </a:lvl1pPr>
          </a:lstStyle>
          <a:p>
            <a:r>
              <a:rPr lang="en-US"/>
              <a:t>Click to edit Master title style</a:t>
            </a:r>
          </a:p>
        </p:txBody>
      </p:sp>
      <p:sp>
        <p:nvSpPr>
          <p:cNvPr id="3" name="Text Placeholder 2">
            <a:extLst>
              <a:ext uri="{FF2B5EF4-FFF2-40B4-BE49-F238E27FC236}">
                <a16:creationId xmlns:a16="http://schemas.microsoft.com/office/drawing/2014/main" id="{CA08FB9B-4C05-4A08-82C8-2CDB34B503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A11764EB-9808-459C-9FF4-C814346C0D1F}"/>
              </a:ext>
            </a:extLst>
          </p:cNvPr>
          <p:cNvSpPr>
            <a:spLocks noGrp="1"/>
          </p:cNvSpPr>
          <p:nvPr>
            <p:ph type="sldNum" sz="quarter" idx="12"/>
          </p:nvPr>
        </p:nvSpPr>
        <p:spPr/>
        <p:txBody>
          <a:bodyPr/>
          <a:lstStyle/>
          <a:p>
            <a:fld id="{9B11AF8B-AA4A-4143-91D6-A716333E3D61}" type="slidenum">
              <a:rPr lang="en-US" smtClean="0"/>
              <a:t>‹#›</a:t>
            </a:fld>
            <a:endParaRPr lang="en-US"/>
          </a:p>
        </p:txBody>
      </p:sp>
    </p:spTree>
    <p:extLst>
      <p:ext uri="{BB962C8B-B14F-4D97-AF65-F5344CB8AC3E}">
        <p14:creationId xmlns:p14="http://schemas.microsoft.com/office/powerpoint/2010/main" val="5530861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rgbClr val="00327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DD4DB-BCDC-4222-A554-4843FDAA1F37}"/>
              </a:ext>
            </a:extLst>
          </p:cNvPr>
          <p:cNvSpPr>
            <a:spLocks noGrp="1"/>
          </p:cNvSpPr>
          <p:nvPr>
            <p:ph type="title"/>
          </p:nvPr>
        </p:nvSpPr>
        <p:spPr>
          <a:xfrm>
            <a:off x="487204" y="1257455"/>
            <a:ext cx="5472167" cy="2852737"/>
          </a:xfrm>
        </p:spPr>
        <p:txBody>
          <a:bodyPr anchor="b"/>
          <a:lstStyle>
            <a:lvl1pPr algn="ctr">
              <a:defRPr sz="6000" b="0">
                <a:solidFill>
                  <a:schemeClr val="bg1"/>
                </a:solidFill>
                <a:latin typeface="+mn-lt"/>
              </a:defRPr>
            </a:lvl1pPr>
          </a:lstStyle>
          <a:p>
            <a:r>
              <a:rPr lang="en-US"/>
              <a:t>Click to edit Master title style</a:t>
            </a:r>
          </a:p>
        </p:txBody>
      </p:sp>
      <p:sp>
        <p:nvSpPr>
          <p:cNvPr id="3" name="Text Placeholder 2">
            <a:extLst>
              <a:ext uri="{FF2B5EF4-FFF2-40B4-BE49-F238E27FC236}">
                <a16:creationId xmlns:a16="http://schemas.microsoft.com/office/drawing/2014/main" id="{CA08FB9B-4C05-4A08-82C8-2CDB34B5034B}"/>
              </a:ext>
            </a:extLst>
          </p:cNvPr>
          <p:cNvSpPr>
            <a:spLocks noGrp="1"/>
          </p:cNvSpPr>
          <p:nvPr>
            <p:ph type="body" idx="1"/>
          </p:nvPr>
        </p:nvSpPr>
        <p:spPr>
          <a:xfrm>
            <a:off x="487204" y="4137180"/>
            <a:ext cx="5472168" cy="1500187"/>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A11764EB-9808-459C-9FF4-C814346C0D1F}"/>
              </a:ext>
            </a:extLst>
          </p:cNvPr>
          <p:cNvSpPr>
            <a:spLocks noGrp="1"/>
          </p:cNvSpPr>
          <p:nvPr>
            <p:ph type="sldNum" sz="quarter" idx="12"/>
          </p:nvPr>
        </p:nvSpPr>
        <p:spPr/>
        <p:txBody>
          <a:bodyPr/>
          <a:lstStyle/>
          <a:p>
            <a:fld id="{9B11AF8B-AA4A-4143-91D6-A716333E3D61}" type="slidenum">
              <a:rPr lang="en-US" smtClean="0"/>
              <a:t>‹#›</a:t>
            </a:fld>
            <a:endParaRPr lang="en-US"/>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31322" t="14326" b="15050"/>
          <a:stretch/>
        </p:blipFill>
        <p:spPr>
          <a:xfrm flipH="1">
            <a:off x="5209536" y="0"/>
            <a:ext cx="6982463" cy="6858000"/>
          </a:xfrm>
          <a:prstGeom prst="rect">
            <a:avLst/>
          </a:prstGeom>
        </p:spPr>
      </p:pic>
    </p:spTree>
    <p:extLst>
      <p:ext uri="{BB962C8B-B14F-4D97-AF65-F5344CB8AC3E}">
        <p14:creationId xmlns:p14="http://schemas.microsoft.com/office/powerpoint/2010/main" val="36460049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12128-E4CF-43CD-9300-AD4AAB88E577}"/>
              </a:ext>
            </a:extLst>
          </p:cNvPr>
          <p:cNvSpPr>
            <a:spLocks noGrp="1"/>
          </p:cNvSpPr>
          <p:nvPr>
            <p:ph type="title"/>
          </p:nvPr>
        </p:nvSpPr>
        <p:spPr/>
        <p:txBody>
          <a:bodyPr/>
          <a:lstStyle>
            <a:lvl1pPr>
              <a:defRPr b="1">
                <a:solidFill>
                  <a:srgbClr val="00327A"/>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1238B23-5B82-4C85-9CEA-43A83F0988F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25DA14D-445E-4E07-9105-46345756EFF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89125DCA-105A-4EE7-8D36-A1C8902759C2}"/>
              </a:ext>
            </a:extLst>
          </p:cNvPr>
          <p:cNvSpPr>
            <a:spLocks noGrp="1"/>
          </p:cNvSpPr>
          <p:nvPr>
            <p:ph type="sldNum" sz="quarter" idx="12"/>
          </p:nvPr>
        </p:nvSpPr>
        <p:spPr/>
        <p:txBody>
          <a:bodyPr/>
          <a:lstStyle/>
          <a:p>
            <a:fld id="{9B11AF8B-AA4A-4143-91D6-A716333E3D61}" type="slidenum">
              <a:rPr lang="en-US" smtClean="0"/>
              <a:t>‹#›</a:t>
            </a:fld>
            <a:endParaRPr lang="en-US"/>
          </a:p>
        </p:txBody>
      </p:sp>
    </p:spTree>
    <p:extLst>
      <p:ext uri="{BB962C8B-B14F-4D97-AF65-F5344CB8AC3E}">
        <p14:creationId xmlns:p14="http://schemas.microsoft.com/office/powerpoint/2010/main" val="26813555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BA74D-C732-4FB9-821E-3DAE86426C0B}"/>
              </a:ext>
            </a:extLst>
          </p:cNvPr>
          <p:cNvSpPr>
            <a:spLocks noGrp="1"/>
          </p:cNvSpPr>
          <p:nvPr>
            <p:ph type="title"/>
          </p:nvPr>
        </p:nvSpPr>
        <p:spPr>
          <a:xfrm>
            <a:off x="839788" y="365125"/>
            <a:ext cx="10515600" cy="1325563"/>
          </a:xfrm>
        </p:spPr>
        <p:txBody>
          <a:bodyPr/>
          <a:lstStyle>
            <a:lvl1pPr>
              <a:defRPr b="1">
                <a:solidFill>
                  <a:srgbClr val="00327A"/>
                </a:solidFill>
              </a:defRPr>
            </a:lvl1pPr>
          </a:lstStyle>
          <a:p>
            <a:r>
              <a:rPr lang="en-US"/>
              <a:t>Click to edit Master title style</a:t>
            </a:r>
          </a:p>
        </p:txBody>
      </p:sp>
      <p:sp>
        <p:nvSpPr>
          <p:cNvPr id="3" name="Text Placeholder 2">
            <a:extLst>
              <a:ext uri="{FF2B5EF4-FFF2-40B4-BE49-F238E27FC236}">
                <a16:creationId xmlns:a16="http://schemas.microsoft.com/office/drawing/2014/main" id="{81C034D4-3C3A-482E-81D0-9C33F4D6F6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DAC66FB-A731-4596-B5A8-2064A7E735A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79C058-F351-40B5-A45A-1D8CC3E9C2C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FCB7F8A-4BD1-44A3-AFE8-3E6E2E989BA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E0359744-41C8-4AB9-8E44-8893A03D624B}"/>
              </a:ext>
            </a:extLst>
          </p:cNvPr>
          <p:cNvSpPr>
            <a:spLocks noGrp="1"/>
          </p:cNvSpPr>
          <p:nvPr>
            <p:ph type="sldNum" sz="quarter" idx="12"/>
          </p:nvPr>
        </p:nvSpPr>
        <p:spPr/>
        <p:txBody>
          <a:bodyPr/>
          <a:lstStyle/>
          <a:p>
            <a:fld id="{9B11AF8B-AA4A-4143-91D6-A716333E3D61}" type="slidenum">
              <a:rPr lang="en-US" smtClean="0"/>
              <a:t>‹#›</a:t>
            </a:fld>
            <a:endParaRPr lang="en-US"/>
          </a:p>
        </p:txBody>
      </p:sp>
    </p:spTree>
    <p:extLst>
      <p:ext uri="{BB962C8B-B14F-4D97-AF65-F5344CB8AC3E}">
        <p14:creationId xmlns:p14="http://schemas.microsoft.com/office/powerpoint/2010/main" val="3591438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841E9-EC03-4A3F-845A-DAD8A06F9657}"/>
              </a:ext>
            </a:extLst>
          </p:cNvPr>
          <p:cNvSpPr>
            <a:spLocks noGrp="1"/>
          </p:cNvSpPr>
          <p:nvPr>
            <p:ph type="title"/>
          </p:nvPr>
        </p:nvSpPr>
        <p:spPr/>
        <p:txBody>
          <a:bodyPr/>
          <a:lstStyle>
            <a:lvl1pPr>
              <a:defRPr b="1">
                <a:solidFill>
                  <a:srgbClr val="00327A"/>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C38B49CB-94EE-44A7-B207-E7FB3FA6DBFD}"/>
              </a:ext>
            </a:extLst>
          </p:cNvPr>
          <p:cNvSpPr>
            <a:spLocks noGrp="1"/>
          </p:cNvSpPr>
          <p:nvPr>
            <p:ph type="sldNum" sz="quarter" idx="12"/>
          </p:nvPr>
        </p:nvSpPr>
        <p:spPr/>
        <p:txBody>
          <a:bodyPr/>
          <a:lstStyle/>
          <a:p>
            <a:fld id="{9B11AF8B-AA4A-4143-91D6-A716333E3D61}" type="slidenum">
              <a:rPr lang="en-US" smtClean="0"/>
              <a:t>‹#›</a:t>
            </a:fld>
            <a:endParaRPr lang="en-US"/>
          </a:p>
        </p:txBody>
      </p:sp>
    </p:spTree>
    <p:extLst>
      <p:ext uri="{BB962C8B-B14F-4D97-AF65-F5344CB8AC3E}">
        <p14:creationId xmlns:p14="http://schemas.microsoft.com/office/powerpoint/2010/main" val="32652973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E6A3640-3321-4870-A12D-4B73603B5497}"/>
              </a:ext>
            </a:extLst>
          </p:cNvPr>
          <p:cNvSpPr>
            <a:spLocks noGrp="1"/>
          </p:cNvSpPr>
          <p:nvPr>
            <p:ph type="sldNum" sz="quarter" idx="12"/>
          </p:nvPr>
        </p:nvSpPr>
        <p:spPr/>
        <p:txBody>
          <a:bodyPr/>
          <a:lstStyle/>
          <a:p>
            <a:fld id="{9B11AF8B-AA4A-4143-91D6-A716333E3D61}" type="slidenum">
              <a:rPr lang="en-US" smtClean="0"/>
              <a:t>‹#›</a:t>
            </a:fld>
            <a:endParaRPr lang="en-US"/>
          </a:p>
        </p:txBody>
      </p:sp>
    </p:spTree>
    <p:extLst>
      <p:ext uri="{BB962C8B-B14F-4D97-AF65-F5344CB8AC3E}">
        <p14:creationId xmlns:p14="http://schemas.microsoft.com/office/powerpoint/2010/main" val="32518260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82FA1-F33B-442F-9A7E-1F0E9A931983}"/>
              </a:ext>
            </a:extLst>
          </p:cNvPr>
          <p:cNvSpPr>
            <a:spLocks noGrp="1"/>
          </p:cNvSpPr>
          <p:nvPr>
            <p:ph type="title"/>
          </p:nvPr>
        </p:nvSpPr>
        <p:spPr>
          <a:xfrm>
            <a:off x="839788" y="457200"/>
            <a:ext cx="3932237" cy="1600200"/>
          </a:xfrm>
        </p:spPr>
        <p:txBody>
          <a:bodyPr anchor="b"/>
          <a:lstStyle>
            <a:lvl1pPr>
              <a:defRPr sz="3200" b="1">
                <a:solidFill>
                  <a:srgbClr val="00327A"/>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952F7EF-30F7-4ADB-A050-89E3AB9B163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D709AD7-D935-447B-9934-8A491B2502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a:extLst>
              <a:ext uri="{FF2B5EF4-FFF2-40B4-BE49-F238E27FC236}">
                <a16:creationId xmlns:a16="http://schemas.microsoft.com/office/drawing/2014/main" id="{A5B33F3F-70F0-4B5C-8BAC-9FC87EC65C30}"/>
              </a:ext>
            </a:extLst>
          </p:cNvPr>
          <p:cNvSpPr>
            <a:spLocks noGrp="1"/>
          </p:cNvSpPr>
          <p:nvPr>
            <p:ph type="sldNum" sz="quarter" idx="12"/>
          </p:nvPr>
        </p:nvSpPr>
        <p:spPr/>
        <p:txBody>
          <a:bodyPr/>
          <a:lstStyle/>
          <a:p>
            <a:fld id="{9B11AF8B-AA4A-4143-91D6-A716333E3D61}" type="slidenum">
              <a:rPr lang="en-US" smtClean="0"/>
              <a:t>‹#›</a:t>
            </a:fld>
            <a:endParaRPr lang="en-US"/>
          </a:p>
        </p:txBody>
      </p:sp>
    </p:spTree>
    <p:extLst>
      <p:ext uri="{BB962C8B-B14F-4D97-AF65-F5344CB8AC3E}">
        <p14:creationId xmlns:p14="http://schemas.microsoft.com/office/powerpoint/2010/main" val="12534675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52C90-B78C-45B4-B4E0-A96A3C449B03}"/>
              </a:ext>
            </a:extLst>
          </p:cNvPr>
          <p:cNvSpPr>
            <a:spLocks noGrp="1"/>
          </p:cNvSpPr>
          <p:nvPr>
            <p:ph type="title"/>
          </p:nvPr>
        </p:nvSpPr>
        <p:spPr>
          <a:xfrm>
            <a:off x="839788" y="457200"/>
            <a:ext cx="3932237" cy="1600200"/>
          </a:xfrm>
        </p:spPr>
        <p:txBody>
          <a:bodyPr anchor="b"/>
          <a:lstStyle>
            <a:lvl1pPr>
              <a:defRPr sz="3200" b="1">
                <a:solidFill>
                  <a:srgbClr val="00327A"/>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E8FA2085-FF11-49BA-A67F-1C07781A55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FAA2BCC-B0BD-4600-9B88-E601E796B1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a:extLst>
              <a:ext uri="{FF2B5EF4-FFF2-40B4-BE49-F238E27FC236}">
                <a16:creationId xmlns:a16="http://schemas.microsoft.com/office/drawing/2014/main" id="{F7644C85-5DA2-4806-9290-13643ED8E043}"/>
              </a:ext>
            </a:extLst>
          </p:cNvPr>
          <p:cNvSpPr>
            <a:spLocks noGrp="1"/>
          </p:cNvSpPr>
          <p:nvPr>
            <p:ph type="sldNum" sz="quarter" idx="12"/>
          </p:nvPr>
        </p:nvSpPr>
        <p:spPr/>
        <p:txBody>
          <a:bodyPr/>
          <a:lstStyle/>
          <a:p>
            <a:fld id="{9B11AF8B-AA4A-4143-91D6-A716333E3D61}" type="slidenum">
              <a:rPr lang="en-US" smtClean="0"/>
              <a:t>‹#›</a:t>
            </a:fld>
            <a:endParaRPr lang="en-US"/>
          </a:p>
        </p:txBody>
      </p:sp>
    </p:spTree>
    <p:extLst>
      <p:ext uri="{BB962C8B-B14F-4D97-AF65-F5344CB8AC3E}">
        <p14:creationId xmlns:p14="http://schemas.microsoft.com/office/powerpoint/2010/main" val="333450336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8E03D-9F32-4CAA-86AF-CCA5041F5AC9}"/>
              </a:ext>
            </a:extLst>
          </p:cNvPr>
          <p:cNvSpPr>
            <a:spLocks noGrp="1"/>
          </p:cNvSpPr>
          <p:nvPr>
            <p:ph type="title"/>
          </p:nvPr>
        </p:nvSpPr>
        <p:spPr/>
        <p:txBody>
          <a:bodyPr/>
          <a:lstStyle>
            <a:lvl1pPr>
              <a:defRPr b="1">
                <a:solidFill>
                  <a:srgbClr val="00327A"/>
                </a:solidFill>
              </a:defRPr>
            </a:lvl1pPr>
          </a:lstStyle>
          <a:p>
            <a:r>
              <a:rPr lang="en-US"/>
              <a:t>Click to edit Master title style</a:t>
            </a:r>
          </a:p>
        </p:txBody>
      </p:sp>
      <p:sp>
        <p:nvSpPr>
          <p:cNvPr id="3" name="Vertical Text Placeholder 2">
            <a:extLst>
              <a:ext uri="{FF2B5EF4-FFF2-40B4-BE49-F238E27FC236}">
                <a16:creationId xmlns:a16="http://schemas.microsoft.com/office/drawing/2014/main" id="{D4A22451-37A5-4FC9-9F4F-491E181F105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738B32C-C909-4B4B-B4AC-FB76FAF49C40}"/>
              </a:ext>
            </a:extLst>
          </p:cNvPr>
          <p:cNvSpPr>
            <a:spLocks noGrp="1"/>
          </p:cNvSpPr>
          <p:nvPr>
            <p:ph type="sldNum" sz="quarter" idx="12"/>
          </p:nvPr>
        </p:nvSpPr>
        <p:spPr/>
        <p:txBody>
          <a:bodyPr/>
          <a:lstStyle/>
          <a:p>
            <a:fld id="{9B11AF8B-AA4A-4143-91D6-A716333E3D61}" type="slidenum">
              <a:rPr lang="en-US" smtClean="0"/>
              <a:t>‹#›</a:t>
            </a:fld>
            <a:endParaRPr lang="en-US"/>
          </a:p>
        </p:txBody>
      </p:sp>
    </p:spTree>
    <p:extLst>
      <p:ext uri="{BB962C8B-B14F-4D97-AF65-F5344CB8AC3E}">
        <p14:creationId xmlns:p14="http://schemas.microsoft.com/office/powerpoint/2010/main" val="15221553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81259C8-487B-4A71-B387-42E41C79E9E2}"/>
              </a:ext>
            </a:extLst>
          </p:cNvPr>
          <p:cNvSpPr>
            <a:spLocks noGrp="1"/>
          </p:cNvSpPr>
          <p:nvPr>
            <p:ph type="title" orient="vert"/>
          </p:nvPr>
        </p:nvSpPr>
        <p:spPr>
          <a:xfrm>
            <a:off x="8724900" y="365125"/>
            <a:ext cx="2628900" cy="5811838"/>
          </a:xfrm>
        </p:spPr>
        <p:txBody>
          <a:bodyPr vert="eaVert"/>
          <a:lstStyle>
            <a:lvl1pPr>
              <a:defRPr>
                <a:solidFill>
                  <a:srgbClr val="00327A"/>
                </a:solidFill>
              </a:defRPr>
            </a:lvl1pPr>
          </a:lstStyle>
          <a:p>
            <a:r>
              <a:rPr lang="en-US"/>
              <a:t>Click to edit Master title style</a:t>
            </a:r>
          </a:p>
        </p:txBody>
      </p:sp>
      <p:sp>
        <p:nvSpPr>
          <p:cNvPr id="3" name="Vertical Text Placeholder 2">
            <a:extLst>
              <a:ext uri="{FF2B5EF4-FFF2-40B4-BE49-F238E27FC236}">
                <a16:creationId xmlns:a16="http://schemas.microsoft.com/office/drawing/2014/main" id="{84268C88-8233-40DC-BD1D-FC622DDF192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B596F77-07E3-4D65-8215-0DA875DD6693}"/>
              </a:ext>
            </a:extLst>
          </p:cNvPr>
          <p:cNvSpPr>
            <a:spLocks noGrp="1"/>
          </p:cNvSpPr>
          <p:nvPr>
            <p:ph type="sldNum" sz="quarter" idx="12"/>
          </p:nvPr>
        </p:nvSpPr>
        <p:spPr/>
        <p:txBody>
          <a:bodyPr/>
          <a:lstStyle/>
          <a:p>
            <a:fld id="{9B11AF8B-AA4A-4143-91D6-A716333E3D61}" type="slidenum">
              <a:rPr lang="en-US" smtClean="0"/>
              <a:t>‹#›</a:t>
            </a:fld>
            <a:endParaRPr lang="en-US"/>
          </a:p>
        </p:txBody>
      </p:sp>
    </p:spTree>
    <p:extLst>
      <p:ext uri="{BB962C8B-B14F-4D97-AF65-F5344CB8AC3E}">
        <p14:creationId xmlns:p14="http://schemas.microsoft.com/office/powerpoint/2010/main" val="33184598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087D8-AEA2-DDDE-5A07-9B4A15EDDC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5C9AA52-2B10-77D3-2639-2853499FBE3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FE7D7C-E12B-1219-0BA5-15DB215DC6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BD1C8A-5837-E5A5-2C5F-DCE9D34EA5DE}"/>
              </a:ext>
            </a:extLst>
          </p:cNvPr>
          <p:cNvSpPr>
            <a:spLocks noGrp="1"/>
          </p:cNvSpPr>
          <p:nvPr>
            <p:ph type="dt" sz="half" idx="10"/>
          </p:nvPr>
        </p:nvSpPr>
        <p:spPr/>
        <p:txBody>
          <a:bodyPr/>
          <a:lstStyle/>
          <a:p>
            <a:fld id="{A4DFAF99-672D-4536-B69E-619E30BDF832}" type="datetimeFigureOut">
              <a:rPr lang="en-US" smtClean="0"/>
              <a:t>8/27/2024</a:t>
            </a:fld>
            <a:endParaRPr lang="en-US"/>
          </a:p>
        </p:txBody>
      </p:sp>
      <p:sp>
        <p:nvSpPr>
          <p:cNvPr id="6" name="Footer Placeholder 5">
            <a:extLst>
              <a:ext uri="{FF2B5EF4-FFF2-40B4-BE49-F238E27FC236}">
                <a16:creationId xmlns:a16="http://schemas.microsoft.com/office/drawing/2014/main" id="{BC7660C7-1CB0-57EE-3C6C-7A3A273D90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BE08A2-1E57-0C29-BBA6-8525B7A34D83}"/>
              </a:ext>
            </a:extLst>
          </p:cNvPr>
          <p:cNvSpPr>
            <a:spLocks noGrp="1"/>
          </p:cNvSpPr>
          <p:nvPr>
            <p:ph type="sldNum" sz="quarter" idx="12"/>
          </p:nvPr>
        </p:nvSpPr>
        <p:spPr/>
        <p:txBody>
          <a:bodyPr/>
          <a:lstStyle/>
          <a:p>
            <a:fld id="{C7692B91-5C3A-407C-8D38-F29469363295}" type="slidenum">
              <a:rPr lang="en-US" smtClean="0"/>
              <a:t>‹#›</a:t>
            </a:fld>
            <a:endParaRPr lang="en-US"/>
          </a:p>
        </p:txBody>
      </p:sp>
    </p:spTree>
    <p:extLst>
      <p:ext uri="{BB962C8B-B14F-4D97-AF65-F5344CB8AC3E}">
        <p14:creationId xmlns:p14="http://schemas.microsoft.com/office/powerpoint/2010/main" val="22990199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371600"/>
            <a:ext cx="10972800" cy="4621212"/>
          </a:xfrm>
        </p:spPr>
        <p:txBody>
          <a:bodyPr/>
          <a:lstStyle>
            <a:lvl1pPr>
              <a:defRPr>
                <a:solidFill>
                  <a:srgbClr val="00133A"/>
                </a:solidFill>
              </a:defRPr>
            </a:lvl1pPr>
            <a:lvl2pPr>
              <a:defRPr>
                <a:solidFill>
                  <a:srgbClr val="00133A"/>
                </a:solidFill>
              </a:defRPr>
            </a:lvl2pPr>
            <a:lvl3pPr>
              <a:defRPr>
                <a:solidFill>
                  <a:srgbClr val="00133A"/>
                </a:solidFill>
              </a:defRPr>
            </a:lvl3pPr>
            <a:lvl4pPr>
              <a:defRPr>
                <a:solidFill>
                  <a:srgbClr val="00133A"/>
                </a:solidFill>
              </a:defRPr>
            </a:lvl4pPr>
            <a:lvl5pPr>
              <a:defRPr>
                <a:solidFill>
                  <a:srgbClr val="00133A"/>
                </a:solidFill>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262662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554163"/>
            <a:ext cx="10972800" cy="4621212"/>
          </a:xfrm>
        </p:spPr>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24532892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_Data Slide (for content heavy tables and charts)">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609600" y="1824284"/>
            <a:ext cx="10972800" cy="4176467"/>
          </a:xfrm>
        </p:spPr>
        <p:txBody>
          <a:bodyPr>
            <a:normAutofit/>
          </a:bodyPr>
          <a:lstStyle>
            <a:lvl1pPr marL="287338" indent="-287338">
              <a:lnSpc>
                <a:spcPts val="2933"/>
              </a:lnSpc>
              <a:buClr>
                <a:srgbClr val="B2A97E"/>
              </a:buClr>
              <a:buFont typeface="Arial" panose="020B0604020202020204" pitchFamily="34" charset="0"/>
              <a:buChar char="•"/>
              <a:defRPr sz="2400" b="0">
                <a:solidFill>
                  <a:srgbClr val="1D1D1D"/>
                </a:solidFill>
                <a:latin typeface="+mn-lt"/>
              </a:defRPr>
            </a:lvl1pPr>
            <a:lvl2pPr marL="801688" indent="-344488">
              <a:lnSpc>
                <a:spcPts val="2667"/>
              </a:lnSpc>
              <a:buClr>
                <a:srgbClr val="542D62"/>
              </a:buClr>
              <a:buFont typeface="Arial" panose="020B0604020202020204" pitchFamily="34" charset="0"/>
              <a:buChar char="–"/>
              <a:defRPr sz="2400">
                <a:solidFill>
                  <a:srgbClr val="1D1D1D"/>
                </a:solidFill>
                <a:latin typeface="+mn-lt"/>
              </a:defRPr>
            </a:lvl2pPr>
            <a:lvl3pPr marL="1143000" indent="-228600">
              <a:lnSpc>
                <a:spcPts val="2667"/>
              </a:lnSpc>
              <a:buClr>
                <a:srgbClr val="5A5A5A"/>
              </a:buClr>
              <a:buFont typeface="Calibri" panose="020F0502020204030204" pitchFamily="34" charset="0"/>
              <a:buChar char="›"/>
              <a:defRPr sz="2400">
                <a:solidFill>
                  <a:srgbClr val="1D1D1D"/>
                </a:solidFill>
                <a:latin typeface="+mn-lt"/>
              </a:defRPr>
            </a:lvl3pPr>
            <a:lvl4pPr marL="1600200" indent="-228600">
              <a:buFont typeface="Arial" panose="020B0604020202020204" pitchFamily="34" charset="0"/>
              <a:buChar char="»"/>
              <a:defRPr sz="2667">
                <a:solidFill>
                  <a:srgbClr val="1D1D1D"/>
                </a:solidFill>
              </a:defRPr>
            </a:lvl4pPr>
            <a:lvl5pPr marL="2057400" indent="-228600">
              <a:buFont typeface="Arial" panose="020B0604020202020204" pitchFamily="34" charset="0"/>
              <a:buChar char="-"/>
              <a:defRPr sz="2667">
                <a:solidFill>
                  <a:srgbClr val="1D1D1D"/>
                </a:solidFill>
              </a:defRPr>
            </a:lvl5pPr>
          </a:lstStyle>
          <a:p>
            <a:pPr lvl="0"/>
            <a:r>
              <a:rPr lang="en-US"/>
              <a:t>Click to edit Master text styles</a:t>
            </a:r>
          </a:p>
          <a:p>
            <a:pPr lvl="1"/>
            <a:r>
              <a:rPr lang="en-US"/>
              <a:t>Second level</a:t>
            </a:r>
          </a:p>
          <a:p>
            <a:pPr lvl="2"/>
            <a:r>
              <a:rPr lang="en-US"/>
              <a:t>Thir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542D62"/>
                </a:solidFill>
                <a:effectLst/>
                <a:latin typeface="Calibri" pitchFamily="34" charset="0"/>
              </a:defRPr>
            </a:lvl1pPr>
          </a:lstStyle>
          <a:p>
            <a:endParaRPr lang="en-US"/>
          </a:p>
        </p:txBody>
      </p:sp>
    </p:spTree>
    <p:extLst>
      <p:ext uri="{BB962C8B-B14F-4D97-AF65-F5344CB8AC3E}">
        <p14:creationId xmlns:p14="http://schemas.microsoft.com/office/powerpoint/2010/main" val="2613315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DATA SLIDE_O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343E48"/>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67" indent="-457167">
              <a:buClr>
                <a:srgbClr val="D50100"/>
              </a:buClr>
              <a:buFont typeface="Wingdings" panose="05000000000000000000" pitchFamily="2" charset="2"/>
              <a:buChar char="§"/>
              <a:defRPr sz="2667">
                <a:solidFill>
                  <a:srgbClr val="59595B"/>
                </a:solidFill>
              </a:defRPr>
            </a:lvl1pPr>
            <a:lvl2pPr>
              <a:buClr>
                <a:srgbClr val="D50100"/>
              </a:buClr>
              <a:defRPr sz="2667">
                <a:solidFill>
                  <a:srgbClr val="59595B"/>
                </a:solidFill>
              </a:defRPr>
            </a:lvl2pPr>
            <a:lvl3pPr>
              <a:buClr>
                <a:srgbClr val="D50100"/>
              </a:buClr>
              <a:defRPr sz="2667">
                <a:solidFill>
                  <a:srgbClr val="59595B"/>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6416"/>
            <a:ext cx="12192000" cy="121584"/>
          </a:xfrm>
          <a:prstGeom prst="rect">
            <a:avLst/>
          </a:prstGeom>
        </p:spPr>
      </p:pic>
    </p:spTree>
    <p:extLst>
      <p:ext uri="{BB962C8B-B14F-4D97-AF65-F5344CB8AC3E}">
        <p14:creationId xmlns:p14="http://schemas.microsoft.com/office/powerpoint/2010/main" val="428183585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DATA SLIDE_O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343E48"/>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67" indent="-457167">
              <a:buClr>
                <a:srgbClr val="D50100"/>
              </a:buClr>
              <a:buFont typeface="Wingdings" panose="05000000000000000000" pitchFamily="2" charset="2"/>
              <a:buChar char="§"/>
              <a:defRPr sz="2667">
                <a:solidFill>
                  <a:srgbClr val="59595B"/>
                </a:solidFill>
              </a:defRPr>
            </a:lvl1pPr>
            <a:lvl2pPr>
              <a:buClr>
                <a:srgbClr val="D50100"/>
              </a:buClr>
              <a:defRPr sz="2667">
                <a:solidFill>
                  <a:srgbClr val="59595B"/>
                </a:solidFill>
              </a:defRPr>
            </a:lvl2pPr>
            <a:lvl3pPr>
              <a:buClr>
                <a:srgbClr val="D50100"/>
              </a:buClr>
              <a:defRPr sz="2667">
                <a:solidFill>
                  <a:srgbClr val="59595B"/>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6416"/>
            <a:ext cx="12192000" cy="121584"/>
          </a:xfrm>
          <a:prstGeom prst="rect">
            <a:avLst/>
          </a:prstGeom>
        </p:spPr>
      </p:pic>
    </p:spTree>
    <p:extLst>
      <p:ext uri="{BB962C8B-B14F-4D97-AF65-F5344CB8AC3E}">
        <p14:creationId xmlns:p14="http://schemas.microsoft.com/office/powerpoint/2010/main" val="257054562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ody 1">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20835" y="1"/>
            <a:ext cx="11150333" cy="1145309"/>
          </a:xfrm>
          <a:prstGeom prst="rect">
            <a:avLst/>
          </a:prstGeom>
        </p:spPr>
        <p:txBody>
          <a:bodyPr anchor="ctr">
            <a:noAutofit/>
          </a:bodyPr>
          <a:lstStyle>
            <a:lvl1pPr algn="l">
              <a:lnSpc>
                <a:spcPts val="3400"/>
              </a:lnSpc>
              <a:defRPr sz="2400" b="1" i="0">
                <a:solidFill>
                  <a:schemeClr val="bg1"/>
                </a:solidFill>
                <a:latin typeface="Roboto" panose="02000000000000000000" pitchFamily="2" charset="0"/>
                <a:ea typeface="Roboto" panose="02000000000000000000" pitchFamily="2" charset="0"/>
                <a:cs typeface="Arial" panose="020B0604020202020204" pitchFamily="34" charset="0"/>
              </a:defRPr>
            </a:lvl1pPr>
          </a:lstStyle>
          <a:p>
            <a:r>
              <a:rPr lang="en-US"/>
              <a:t>Click to edit title</a:t>
            </a:r>
          </a:p>
        </p:txBody>
      </p:sp>
      <p:sp>
        <p:nvSpPr>
          <p:cNvPr id="9" name="Subtitle 2"/>
          <p:cNvSpPr>
            <a:spLocks noGrp="1"/>
          </p:cNvSpPr>
          <p:nvPr>
            <p:ph type="subTitle" idx="1" hasCustomPrompt="1"/>
          </p:nvPr>
        </p:nvSpPr>
        <p:spPr>
          <a:xfrm>
            <a:off x="520835" y="1533155"/>
            <a:ext cx="11150333" cy="1682512"/>
          </a:xfrm>
          <a:prstGeom prst="rect">
            <a:avLst/>
          </a:prstGeom>
        </p:spPr>
        <p:txBody>
          <a:bodyPr>
            <a:spAutoFit/>
          </a:bodyPr>
          <a:lstStyle>
            <a:lvl1pPr marL="274320" marR="0" indent="-274320" algn="l" defTabSz="457200" rtl="0" eaLnBrk="0" fontAlgn="base" latinLnBrk="0" hangingPunct="0">
              <a:lnSpc>
                <a:spcPct val="100000"/>
              </a:lnSpc>
              <a:spcBef>
                <a:spcPts val="400"/>
              </a:spcBef>
              <a:spcAft>
                <a:spcPct val="0"/>
              </a:spcAft>
              <a:buClr>
                <a:srgbClr val="0190B4"/>
              </a:buClr>
              <a:buSzTx/>
              <a:buFont typeface="Wingdings" pitchFamily="2" charset="2"/>
              <a:buChar char="§"/>
              <a:tabLst/>
              <a:defRPr sz="1800">
                <a:solidFill>
                  <a:schemeClr val="tx1">
                    <a:lumMod val="65000"/>
                    <a:lumOff val="35000"/>
                  </a:schemeClr>
                </a:solidFill>
                <a:latin typeface="Roboto" panose="02000000000000000000" pitchFamily="2" charset="0"/>
                <a:ea typeface="Roboto" panose="02000000000000000000" pitchFamily="2" charset="0"/>
                <a:cs typeface="Arial" panose="020B0604020202020204" pitchFamily="34" charset="0"/>
              </a:defRPr>
            </a:lvl1pPr>
            <a:lvl2pPr marL="560070" indent="-285750" algn="ctr">
              <a:spcBef>
                <a:spcPts val="400"/>
              </a:spcBef>
              <a:buClr>
                <a:srgbClr val="0190B4"/>
              </a:buClr>
              <a:buFont typeface="Arial" panose="020B0604020202020204" pitchFamily="34" charset="0"/>
              <a:buChar char="•"/>
              <a:defRPr sz="1800">
                <a:solidFill>
                  <a:schemeClr val="tx1">
                    <a:lumMod val="65000"/>
                    <a:lumOff val="35000"/>
                  </a:schemeClr>
                </a:solidFill>
                <a:latin typeface="Roboto" panose="02000000000000000000" pitchFamily="2" charset="0"/>
                <a:ea typeface="Roboto" panose="02000000000000000000" pitchFamily="2" charset="0"/>
                <a:cs typeface="Arial" panose="020B0604020202020204" pitchFamily="34" charset="0"/>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text</a:t>
            </a:r>
          </a:p>
          <a:p>
            <a:pPr marL="548640" marR="0" lvl="1" indent="-274320" algn="l" defTabSz="457200" rtl="0" eaLnBrk="0" fontAlgn="base" latinLnBrk="0" hangingPunct="0">
              <a:lnSpc>
                <a:spcPct val="100000"/>
              </a:lnSpc>
              <a:spcBef>
                <a:spcPts val="400"/>
              </a:spcBef>
              <a:spcAft>
                <a:spcPct val="0"/>
              </a:spcAft>
              <a:buClr>
                <a:srgbClr val="2046A5"/>
              </a:buClr>
              <a:buSzTx/>
              <a:buFont typeface="Wingdings" pitchFamily="2" charset="2"/>
              <a:buChar char="§"/>
              <a:tabLst/>
              <a:defRPr/>
            </a:pPr>
            <a:r>
              <a:rPr lang="en-US"/>
              <a:t>Click to edit text</a:t>
            </a:r>
          </a:p>
          <a:p>
            <a:endParaRPr lang="en-US"/>
          </a:p>
          <a:p>
            <a:pPr lvl="1"/>
            <a:endParaRPr lang="en-US"/>
          </a:p>
          <a:p>
            <a:endParaRPr lang="en-US"/>
          </a:p>
        </p:txBody>
      </p:sp>
      <p:sp>
        <p:nvSpPr>
          <p:cNvPr id="5" name="Slide Number Placeholder 5">
            <a:extLst>
              <a:ext uri="{FF2B5EF4-FFF2-40B4-BE49-F238E27FC236}">
                <a16:creationId xmlns:a16="http://schemas.microsoft.com/office/drawing/2014/main" id="{61345786-D288-4340-82AA-780AC0F0F7CB}"/>
              </a:ext>
            </a:extLst>
          </p:cNvPr>
          <p:cNvSpPr>
            <a:spLocks noGrp="1"/>
          </p:cNvSpPr>
          <p:nvPr>
            <p:ph type="sldNum" sz="quarter" idx="4"/>
          </p:nvPr>
        </p:nvSpPr>
        <p:spPr>
          <a:xfrm>
            <a:off x="11567290" y="6453120"/>
            <a:ext cx="578813" cy="365125"/>
          </a:xfrm>
          <a:prstGeom prst="rect">
            <a:avLst/>
          </a:prstGeom>
        </p:spPr>
        <p:txBody>
          <a:bodyPr anchor="ctr"/>
          <a:lstStyle>
            <a:lvl1pPr algn="ctr" fontAlgn="auto">
              <a:spcBef>
                <a:spcPts val="0"/>
              </a:spcBef>
              <a:spcAft>
                <a:spcPts val="0"/>
              </a:spcAft>
              <a:defRPr sz="800" b="0">
                <a:solidFill>
                  <a:schemeClr val="tx1">
                    <a:lumMod val="65000"/>
                    <a:lumOff val="35000"/>
                  </a:schemeClr>
                </a:solidFill>
                <a:latin typeface="Roboto" panose="02000000000000000000" pitchFamily="2" charset="0"/>
                <a:ea typeface="Roboto" panose="02000000000000000000" pitchFamily="2" charset="0"/>
                <a:cs typeface="Arial" panose="020B0604020202020204" pitchFamily="34" charset="0"/>
              </a:defRPr>
            </a:lvl1pPr>
          </a:lstStyle>
          <a:p>
            <a:pPr>
              <a:defRPr/>
            </a:pPr>
            <a:fld id="{5A6E5319-DE00-0648-B66E-6EEFA470FBBC}" type="slidenum">
              <a:rPr lang="en-US" smtClean="0"/>
              <a:pPr>
                <a:defRPr/>
              </a:pPr>
              <a:t>‹#›</a:t>
            </a:fld>
            <a:endParaRPr lang="en-US">
              <a:latin typeface="Roboto" panose="02000000000000000000" pitchFamily="2" charset="0"/>
            </a:endParaRPr>
          </a:p>
        </p:txBody>
      </p:sp>
    </p:spTree>
    <p:extLst>
      <p:ext uri="{BB962C8B-B14F-4D97-AF65-F5344CB8AC3E}">
        <p14:creationId xmlns:p14="http://schemas.microsoft.com/office/powerpoint/2010/main" val="111524026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4_DATA SLIDE_O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343E48"/>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67" indent="-457167">
              <a:buClr>
                <a:srgbClr val="D50100"/>
              </a:buClr>
              <a:buFont typeface="Wingdings" panose="05000000000000000000" pitchFamily="2" charset="2"/>
              <a:buChar char="§"/>
              <a:defRPr sz="2667">
                <a:solidFill>
                  <a:srgbClr val="59595B"/>
                </a:solidFill>
              </a:defRPr>
            </a:lvl1pPr>
            <a:lvl2pPr>
              <a:buClr>
                <a:srgbClr val="D50100"/>
              </a:buClr>
              <a:defRPr sz="2667">
                <a:solidFill>
                  <a:srgbClr val="59595B"/>
                </a:solidFill>
              </a:defRPr>
            </a:lvl2pPr>
            <a:lvl3pPr>
              <a:buClr>
                <a:srgbClr val="D50100"/>
              </a:buClr>
              <a:defRPr sz="2667">
                <a:solidFill>
                  <a:srgbClr val="59595B"/>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6416"/>
            <a:ext cx="12192000" cy="121584"/>
          </a:xfrm>
          <a:prstGeom prst="rect">
            <a:avLst/>
          </a:prstGeom>
        </p:spPr>
      </p:pic>
    </p:spTree>
    <p:extLst>
      <p:ext uri="{BB962C8B-B14F-4D97-AF65-F5344CB8AC3E}">
        <p14:creationId xmlns:p14="http://schemas.microsoft.com/office/powerpoint/2010/main" val="414966034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5_DATA SLIDE_O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343E48"/>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67" indent="-457167">
              <a:buClr>
                <a:srgbClr val="D50100"/>
              </a:buClr>
              <a:buFont typeface="Wingdings" panose="05000000000000000000" pitchFamily="2" charset="2"/>
              <a:buChar char="§"/>
              <a:defRPr sz="2667">
                <a:solidFill>
                  <a:srgbClr val="59595B"/>
                </a:solidFill>
              </a:defRPr>
            </a:lvl1pPr>
            <a:lvl2pPr>
              <a:buClr>
                <a:srgbClr val="D50100"/>
              </a:buClr>
              <a:defRPr sz="2667">
                <a:solidFill>
                  <a:srgbClr val="59595B"/>
                </a:solidFill>
              </a:defRPr>
            </a:lvl2pPr>
            <a:lvl3pPr>
              <a:buClr>
                <a:srgbClr val="D50100"/>
              </a:buClr>
              <a:defRPr sz="2667">
                <a:solidFill>
                  <a:srgbClr val="59595B"/>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6416"/>
            <a:ext cx="12192000" cy="121584"/>
          </a:xfrm>
          <a:prstGeom prst="rect">
            <a:avLst/>
          </a:prstGeom>
        </p:spPr>
      </p:pic>
    </p:spTree>
    <p:extLst>
      <p:ext uri="{BB962C8B-B14F-4D97-AF65-F5344CB8AC3E}">
        <p14:creationId xmlns:p14="http://schemas.microsoft.com/office/powerpoint/2010/main" val="185367706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8/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08332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855857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47" Type="http://schemas.openxmlformats.org/officeDocument/2006/relationships/oleObject" Target="../embeddings/oleObject1.bin"/><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theme" Target="../theme/theme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slideLayout" Target="../slideLayouts/slideLayout77.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 Id="rId48" Type="http://schemas.openxmlformats.org/officeDocument/2006/relationships/image" Target="../media/image15.emf"/><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46" Type="http://schemas.openxmlformats.org/officeDocument/2006/relationships/tags" Target="../tags/tag1.xml"/><Relationship Id="rId20" Type="http://schemas.openxmlformats.org/officeDocument/2006/relationships/slideLayout" Target="../slideLayouts/slideLayout53.xml"/><Relationship Id="rId41"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theme" Target="../theme/theme6.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2CE37A7-398F-9F8F-F659-01C2C7078D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D66142F-E00C-E5FD-E30D-C094F7234FB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CE5E94-6B2D-6954-7F0C-671EFF11A85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4DFAF99-672D-4536-B69E-619E30BDF832}" type="datetimeFigureOut">
              <a:rPr lang="en-US" smtClean="0"/>
              <a:t>8/27/2024</a:t>
            </a:fld>
            <a:endParaRPr lang="en-US"/>
          </a:p>
        </p:txBody>
      </p:sp>
      <p:sp>
        <p:nvSpPr>
          <p:cNvPr id="5" name="Footer Placeholder 4">
            <a:extLst>
              <a:ext uri="{FF2B5EF4-FFF2-40B4-BE49-F238E27FC236}">
                <a16:creationId xmlns:a16="http://schemas.microsoft.com/office/drawing/2014/main" id="{493ED833-9E8E-4723-5BE3-9EBC11DC37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C8DE64C-7F01-EDFE-ABA7-D85C5B6D74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692B91-5C3A-407C-8D38-F29469363295}" type="slidenum">
              <a:rPr lang="en-US" smtClean="0"/>
              <a:t>‹#›</a:t>
            </a:fld>
            <a:endParaRPr lang="en-US"/>
          </a:p>
        </p:txBody>
      </p:sp>
    </p:spTree>
    <p:extLst>
      <p:ext uri="{BB962C8B-B14F-4D97-AF65-F5344CB8AC3E}">
        <p14:creationId xmlns:p14="http://schemas.microsoft.com/office/powerpoint/2010/main" val="11735565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0" y="274638"/>
            <a:ext cx="12192000" cy="1143000"/>
          </a:xfrm>
          <a:prstGeom prst="rect">
            <a:avLst/>
          </a:prstGeom>
          <a:solidFill>
            <a:schemeClr val="tx2">
              <a:lumMod val="75000"/>
            </a:schemeClr>
          </a:solidFill>
          <a:ln>
            <a:noFill/>
          </a:ln>
          <a:extLs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8517F13-D66F-48DE-A1EA-03575FB96D04}" type="slidenum">
              <a:rPr lang="en-US" smtClean="0"/>
              <a:t>‹#›</a:t>
            </a:fld>
            <a:endParaRPr lang="en-US"/>
          </a:p>
        </p:txBody>
      </p:sp>
    </p:spTree>
    <p:extLst>
      <p:ext uri="{BB962C8B-B14F-4D97-AF65-F5344CB8AC3E}">
        <p14:creationId xmlns:p14="http://schemas.microsoft.com/office/powerpoint/2010/main" val="3532064309"/>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Lst>
  <p:hf hdr="0" ftr="0" dt="0"/>
  <p:txStyles>
    <p:titleStyle>
      <a:lvl1pPr algn="ctr" defTabSz="457189" rtl="0" eaLnBrk="1" fontAlgn="base" hangingPunct="1">
        <a:spcBef>
          <a:spcPct val="0"/>
        </a:spcBef>
        <a:spcAft>
          <a:spcPct val="0"/>
        </a:spcAft>
        <a:defRPr sz="4400" kern="1200">
          <a:solidFill>
            <a:schemeClr val="bg1"/>
          </a:solidFill>
          <a:latin typeface="Garamond"/>
          <a:ea typeface="ＭＳ Ｐゴシック" pitchFamily="-107" charset="-128"/>
          <a:cs typeface="Garamond"/>
        </a:defRPr>
      </a:lvl1pPr>
      <a:lvl2pPr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2pPr>
      <a:lvl3pPr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3pPr>
      <a:lvl4pPr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4pPr>
      <a:lvl5pPr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5pPr>
      <a:lvl6pPr marL="457189"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6pPr>
      <a:lvl7pPr marL="914377"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7pPr>
      <a:lvl8pPr marL="1371566"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8pPr>
      <a:lvl9pPr marL="1828754"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9pPr>
    </p:titleStyle>
    <p:bodyStyle>
      <a:lvl1pPr marL="342891" indent="-342891" algn="l" defTabSz="457189" rtl="0" eaLnBrk="1" fontAlgn="base" hangingPunct="1">
        <a:spcBef>
          <a:spcPct val="20000"/>
        </a:spcBef>
        <a:spcAft>
          <a:spcPct val="0"/>
        </a:spcAft>
        <a:buFont typeface="Arial" charset="0"/>
        <a:buChar char="•"/>
        <a:defRPr sz="3200" kern="1200">
          <a:solidFill>
            <a:srgbClr val="1F497D"/>
          </a:solidFill>
          <a:latin typeface="Garamond"/>
          <a:ea typeface="ＭＳ Ｐゴシック" pitchFamily="-107" charset="-128"/>
          <a:cs typeface="Garamond"/>
        </a:defRPr>
      </a:lvl1pPr>
      <a:lvl2pPr marL="742932" indent="-285744" algn="l" defTabSz="457189" rtl="0" eaLnBrk="1" fontAlgn="base" hangingPunct="1">
        <a:spcBef>
          <a:spcPct val="20000"/>
        </a:spcBef>
        <a:spcAft>
          <a:spcPct val="0"/>
        </a:spcAft>
        <a:buFont typeface="Arial" charset="0"/>
        <a:buChar char="–"/>
        <a:defRPr sz="2800" kern="1200">
          <a:solidFill>
            <a:srgbClr val="1F497D"/>
          </a:solidFill>
          <a:latin typeface="Garamond"/>
          <a:ea typeface="ＭＳ Ｐゴシック" pitchFamily="-107" charset="-128"/>
          <a:cs typeface="Garamond"/>
        </a:defRPr>
      </a:lvl2pPr>
      <a:lvl3pPr marL="1142971" indent="-228594" algn="l" defTabSz="457189" rtl="0" eaLnBrk="1" fontAlgn="base" hangingPunct="1">
        <a:spcBef>
          <a:spcPct val="20000"/>
        </a:spcBef>
        <a:spcAft>
          <a:spcPct val="0"/>
        </a:spcAft>
        <a:buFont typeface="Arial" charset="0"/>
        <a:buChar char="•"/>
        <a:defRPr sz="2400" kern="1200">
          <a:solidFill>
            <a:srgbClr val="1F497D"/>
          </a:solidFill>
          <a:latin typeface="Garamond"/>
          <a:ea typeface="ＭＳ Ｐゴシック" pitchFamily="-107" charset="-128"/>
          <a:cs typeface="Garamond"/>
        </a:defRPr>
      </a:lvl3pPr>
      <a:lvl4pPr marL="1600160" indent="-228594" algn="l" defTabSz="457189" rtl="0" eaLnBrk="1" fontAlgn="base" hangingPunct="1">
        <a:spcBef>
          <a:spcPct val="20000"/>
        </a:spcBef>
        <a:spcAft>
          <a:spcPct val="0"/>
        </a:spcAft>
        <a:buFont typeface="Arial" charset="0"/>
        <a:buChar char="–"/>
        <a:defRPr sz="2000" kern="1200">
          <a:solidFill>
            <a:srgbClr val="1F497D"/>
          </a:solidFill>
          <a:latin typeface="Garamond"/>
          <a:ea typeface="ＭＳ Ｐゴシック" pitchFamily="-107" charset="-128"/>
          <a:cs typeface="Garamond"/>
        </a:defRPr>
      </a:lvl4pPr>
      <a:lvl5pPr marL="2057349" indent="-228594" algn="l" defTabSz="457189" rtl="0" eaLnBrk="1" fontAlgn="base" hangingPunct="1">
        <a:spcBef>
          <a:spcPct val="20000"/>
        </a:spcBef>
        <a:spcAft>
          <a:spcPct val="0"/>
        </a:spcAft>
        <a:buFont typeface="Arial" charset="0"/>
        <a:buChar char="»"/>
        <a:defRPr sz="2000" kern="1200">
          <a:solidFill>
            <a:srgbClr val="1F497D"/>
          </a:solidFill>
          <a:latin typeface="Garamond"/>
          <a:ea typeface="ＭＳ Ｐゴシック" pitchFamily="-107" charset="-128"/>
          <a:cs typeface="Garamond"/>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0" y="274638"/>
            <a:ext cx="12192000" cy="1143000"/>
          </a:xfrm>
          <a:prstGeom prst="rect">
            <a:avLst/>
          </a:prstGeom>
          <a:solidFill>
            <a:schemeClr val="tx2">
              <a:lumMod val="75000"/>
            </a:schemeClr>
          </a:solidFill>
          <a:ln>
            <a:noFill/>
          </a:ln>
          <a:extLs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826197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Lst>
  <p:hf sldNum="0" hdr="0" ftr="0" dt="0"/>
  <p:txStyles>
    <p:titleStyle>
      <a:lvl1pPr algn="ctr" defTabSz="457189" rtl="0" eaLnBrk="1" fontAlgn="base" hangingPunct="1">
        <a:spcBef>
          <a:spcPct val="0"/>
        </a:spcBef>
        <a:spcAft>
          <a:spcPct val="0"/>
        </a:spcAft>
        <a:defRPr sz="4400" kern="1200">
          <a:solidFill>
            <a:schemeClr val="bg1"/>
          </a:solidFill>
          <a:latin typeface="Garamond"/>
          <a:ea typeface="ＭＳ Ｐゴシック" pitchFamily="-107" charset="-128"/>
          <a:cs typeface="Garamond"/>
        </a:defRPr>
      </a:lvl1pPr>
      <a:lvl2pPr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2pPr>
      <a:lvl3pPr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3pPr>
      <a:lvl4pPr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4pPr>
      <a:lvl5pPr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5pPr>
      <a:lvl6pPr marL="457189"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6pPr>
      <a:lvl7pPr marL="914377"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7pPr>
      <a:lvl8pPr marL="1371566"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8pPr>
      <a:lvl9pPr marL="1828754" algn="ctr" defTabSz="457189" rtl="0" eaLnBrk="1" fontAlgn="base" hangingPunct="1">
        <a:spcBef>
          <a:spcPct val="0"/>
        </a:spcBef>
        <a:spcAft>
          <a:spcPct val="0"/>
        </a:spcAft>
        <a:defRPr sz="4400">
          <a:solidFill>
            <a:srgbClr val="1F497D"/>
          </a:solidFill>
          <a:latin typeface="Garamond" pitchFamily="-107" charset="0"/>
          <a:ea typeface="ＭＳ Ｐゴシック" pitchFamily="-107" charset="-128"/>
        </a:defRPr>
      </a:lvl9pPr>
    </p:titleStyle>
    <p:bodyStyle>
      <a:lvl1pPr marL="342891" indent="-342891" algn="l" defTabSz="457189" rtl="0" eaLnBrk="1" fontAlgn="base" hangingPunct="1">
        <a:spcBef>
          <a:spcPct val="20000"/>
        </a:spcBef>
        <a:spcAft>
          <a:spcPct val="0"/>
        </a:spcAft>
        <a:buFont typeface="Arial" charset="0"/>
        <a:buChar char="•"/>
        <a:defRPr sz="3200" kern="1200">
          <a:solidFill>
            <a:srgbClr val="1F497D"/>
          </a:solidFill>
          <a:latin typeface="Garamond"/>
          <a:ea typeface="ＭＳ Ｐゴシック" pitchFamily="-107" charset="-128"/>
          <a:cs typeface="Garamond"/>
        </a:defRPr>
      </a:lvl1pPr>
      <a:lvl2pPr marL="742932" indent="-285744" algn="l" defTabSz="457189" rtl="0" eaLnBrk="1" fontAlgn="base" hangingPunct="1">
        <a:spcBef>
          <a:spcPct val="20000"/>
        </a:spcBef>
        <a:spcAft>
          <a:spcPct val="0"/>
        </a:spcAft>
        <a:buFont typeface="Arial" charset="0"/>
        <a:buChar char="–"/>
        <a:defRPr sz="2800" kern="1200">
          <a:solidFill>
            <a:srgbClr val="1F497D"/>
          </a:solidFill>
          <a:latin typeface="Garamond"/>
          <a:ea typeface="ＭＳ Ｐゴシック" pitchFamily="-107" charset="-128"/>
          <a:cs typeface="Garamond"/>
        </a:defRPr>
      </a:lvl2pPr>
      <a:lvl3pPr marL="1142971" indent="-228594" algn="l" defTabSz="457189" rtl="0" eaLnBrk="1" fontAlgn="base" hangingPunct="1">
        <a:spcBef>
          <a:spcPct val="20000"/>
        </a:spcBef>
        <a:spcAft>
          <a:spcPct val="0"/>
        </a:spcAft>
        <a:buFont typeface="Arial" charset="0"/>
        <a:buChar char="•"/>
        <a:defRPr sz="2400" kern="1200">
          <a:solidFill>
            <a:srgbClr val="1F497D"/>
          </a:solidFill>
          <a:latin typeface="Garamond"/>
          <a:ea typeface="ＭＳ Ｐゴシック" pitchFamily="-107" charset="-128"/>
          <a:cs typeface="Garamond"/>
        </a:defRPr>
      </a:lvl3pPr>
      <a:lvl4pPr marL="1600160" indent="-228594" algn="l" defTabSz="457189" rtl="0" eaLnBrk="1" fontAlgn="base" hangingPunct="1">
        <a:spcBef>
          <a:spcPct val="20000"/>
        </a:spcBef>
        <a:spcAft>
          <a:spcPct val="0"/>
        </a:spcAft>
        <a:buFont typeface="Arial" charset="0"/>
        <a:buChar char="–"/>
        <a:defRPr sz="2000" kern="1200">
          <a:solidFill>
            <a:srgbClr val="1F497D"/>
          </a:solidFill>
          <a:latin typeface="Garamond"/>
          <a:ea typeface="ＭＳ Ｐゴシック" pitchFamily="-107" charset="-128"/>
          <a:cs typeface="Garamond"/>
        </a:defRPr>
      </a:lvl4pPr>
      <a:lvl5pPr marL="2057349" indent="-228594" algn="l" defTabSz="457189" rtl="0" eaLnBrk="1" fontAlgn="base" hangingPunct="1">
        <a:spcBef>
          <a:spcPct val="20000"/>
        </a:spcBef>
        <a:spcAft>
          <a:spcPct val="0"/>
        </a:spcAft>
        <a:buFont typeface="Arial" charset="0"/>
        <a:buChar char="»"/>
        <a:defRPr sz="2000" kern="1200">
          <a:solidFill>
            <a:srgbClr val="1F497D"/>
          </a:solidFill>
          <a:latin typeface="Garamond"/>
          <a:ea typeface="ＭＳ Ｐゴシック" pitchFamily="-107" charset="-128"/>
          <a:cs typeface="Garamond"/>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99084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3" r:id="rId3"/>
    <p:sldLayoutId id="2147483704" r:id="rId4"/>
    <p:sldLayoutId id="2147483705" r:id="rId5"/>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000000"/>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000000"/>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000000"/>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000000"/>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000000"/>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B222B7-7F98-C8F1-627D-E1D3F1A391F1}"/>
              </a:ext>
            </a:extLst>
          </p:cNvPr>
          <p:cNvGraphicFramePr>
            <a:graphicFrameLocks noChangeAspect="1"/>
          </p:cNvGraphicFramePr>
          <p:nvPr userDrawn="1">
            <p:custDataLst>
              <p:tags r:id="rId46"/>
            </p:custDataLst>
            <p:extLst>
              <p:ext uri="{D42A27DB-BD31-4B8C-83A1-F6EECF244321}">
                <p14:modId xmlns:p14="http://schemas.microsoft.com/office/powerpoint/2010/main" val="2199420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16" imgH="416" progId="TCLayout.ActiveDocument.1">
                  <p:embed/>
                </p:oleObj>
              </mc:Choice>
              <mc:Fallback>
                <p:oleObj name="think-cell Slide" r:id="rId47" imgW="416" imgH="416" progId="TCLayout.ActiveDocument.1">
                  <p:embed/>
                  <p:pic>
                    <p:nvPicPr>
                      <p:cNvPr id="7" name="think-cell data - do not delete" hidden="1">
                        <a:extLst>
                          <a:ext uri="{FF2B5EF4-FFF2-40B4-BE49-F238E27FC236}">
                            <a16:creationId xmlns:a16="http://schemas.microsoft.com/office/drawing/2014/main" id="{A2B222B7-7F98-C8F1-627D-E1D3F1A391F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0"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0" y="1825625"/>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
        <p:nvSpPr>
          <p:cNvPr id="4" name="Footer Placeholder 4">
            <a:extLst>
              <a:ext uri="{FF2B5EF4-FFF2-40B4-BE49-F238E27FC236}">
                <a16:creationId xmlns:a16="http://schemas.microsoft.com/office/drawing/2014/main" id="{76FCB857-0D21-D10D-9A97-7D80B6C37AEF}"/>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Tree>
    <p:extLst>
      <p:ext uri="{BB962C8B-B14F-4D97-AF65-F5344CB8AC3E}">
        <p14:creationId xmlns:p14="http://schemas.microsoft.com/office/powerpoint/2010/main" val="4174156387"/>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7" r:id="rId31"/>
    <p:sldLayoutId id="2147483738" r:id="rId32"/>
    <p:sldLayoutId id="2147483739" r:id="rId33"/>
    <p:sldLayoutId id="2147483740" r:id="rId34"/>
    <p:sldLayoutId id="2147483741" r:id="rId35"/>
    <p:sldLayoutId id="2147483742" r:id="rId36"/>
    <p:sldLayoutId id="2147483743" r:id="rId37"/>
    <p:sldLayoutId id="2147483744" r:id="rId38"/>
    <p:sldLayoutId id="2147483745" r:id="rId39"/>
    <p:sldLayoutId id="2147483746" r:id="rId40"/>
    <p:sldLayoutId id="2147483747" r:id="rId41"/>
    <p:sldLayoutId id="2147483748" r:id="rId42"/>
    <p:sldLayoutId id="2147483749" r:id="rId43"/>
    <p:sldLayoutId id="2147483750" r:id="rId44"/>
  </p:sldLayoutIdLst>
  <p:hf hdr="0" dt="0"/>
  <p:txStyles>
    <p:titleStyle>
      <a:lvl1pPr algn="l" defTabSz="914400"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0">
          <p15:clr>
            <a:srgbClr val="F26B43"/>
          </p15:clr>
        </p15:guide>
        <p15:guide id="2" pos="2014">
          <p15:clr>
            <a:srgbClr val="F26B43"/>
          </p15:clr>
        </p15:guide>
        <p15:guide id="3" pos="151">
          <p15:clr>
            <a:srgbClr val="F26B43"/>
          </p15:clr>
        </p15:guide>
        <p15:guide id="4" orient="horz" pos="76">
          <p15:clr>
            <a:srgbClr val="F26B43"/>
          </p15:clr>
        </p15:guide>
        <p15:guide id="5" pos="3876">
          <p15:clr>
            <a:srgbClr val="F26B43"/>
          </p15:clr>
        </p15:guide>
        <p15:guide id="6" orient="horz" pos="1026">
          <p15:clr>
            <a:srgbClr val="F26B43"/>
          </p15:clr>
        </p15:guide>
        <p15:guide id="7" orient="horz" pos="1064">
          <p15:clr>
            <a:srgbClr val="F26B43"/>
          </p15:clr>
        </p15:guide>
        <p15:guide id="8" orient="horz" pos="114">
          <p15:clr>
            <a:srgbClr val="F26B43"/>
          </p15:clr>
        </p15:guide>
        <p15:guide id="9" pos="1359">
          <p15:clr>
            <a:srgbClr val="F26B43"/>
          </p15:clr>
        </p15:guide>
        <p15:guide id="10" pos="1410">
          <p15:clr>
            <a:srgbClr val="F26B43"/>
          </p15:clr>
        </p15:guide>
        <p15:guide id="11" pos="2618">
          <p15:clr>
            <a:srgbClr val="F26B43"/>
          </p15:clr>
        </p15:guide>
        <p15:guide id="12" pos="2668">
          <p15:clr>
            <a:srgbClr val="F26B43"/>
          </p15:clr>
        </p15:guide>
        <p15:guide id="13" orient="horz" pos="30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D01A022-30F4-4636-A8E9-06CE3DA6F0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7827C458-3552-47B4-AE47-26367C1ED1D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6" name="Slide Number Placeholder 5">
            <a:extLst>
              <a:ext uri="{FF2B5EF4-FFF2-40B4-BE49-F238E27FC236}">
                <a16:creationId xmlns:a16="http://schemas.microsoft.com/office/drawing/2014/main" id="{4D1CB30D-92F6-4115-BFEF-7F1C4C5EDAD8}"/>
              </a:ext>
            </a:extLst>
          </p:cNvPr>
          <p:cNvSpPr>
            <a:spLocks noGrp="1"/>
          </p:cNvSpPr>
          <p:nvPr>
            <p:ph type="sldNum" sz="quarter" idx="4"/>
          </p:nvPr>
        </p:nvSpPr>
        <p:spPr>
          <a:xfrm>
            <a:off x="11682962" y="6407376"/>
            <a:ext cx="44308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11AF8B-AA4A-4143-91D6-A716333E3D61}" type="slidenum">
              <a:rPr lang="en-US" smtClean="0"/>
              <a:t>‹#›</a:t>
            </a:fld>
            <a:endParaRPr lang="en-US"/>
          </a:p>
        </p:txBody>
      </p:sp>
    </p:spTree>
    <p:extLst>
      <p:ext uri="{BB962C8B-B14F-4D97-AF65-F5344CB8AC3E}">
        <p14:creationId xmlns:p14="http://schemas.microsoft.com/office/powerpoint/2010/main" val="339216040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Lst>
  <p:hf sldNum="0" hdr="0" ftr="0" dt="0"/>
  <p:txStyles>
    <p:title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8/27/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367449396"/>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5.tmp"/><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76.xml"/><Relationship Id="rId5" Type="http://schemas.openxmlformats.org/officeDocument/2006/relationships/hyperlink" Target="https://doi.org/10.1038/s41586-023-06631-2" TargetMode="External"/><Relationship Id="rId4"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61.xml"/><Relationship Id="rId6" Type="http://schemas.openxmlformats.org/officeDocument/2006/relationships/image" Target="../media/image51.tmp"/><Relationship Id="rId5" Type="http://schemas.openxmlformats.org/officeDocument/2006/relationships/hyperlink" Target="https://pubmed.ncbi.nlm.nih.gov/38407173/" TargetMode="External"/><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3" Type="http://schemas.openxmlformats.org/officeDocument/2006/relationships/hyperlink" Target="https://cdn.who.int/media/docs/default-source/influenza/avian-and-other-zoonotic-influenza/joint-fao-oie-who-preliminary-risk-assessment-associated-with-avian-influenza-a(h5n1)-virus.pdf?sfvrsn=faa6e47e_28&amp;download=true" TargetMode="External"/><Relationship Id="rId2" Type="http://schemas.openxmlformats.org/officeDocument/2006/relationships/notesSlide" Target="../notesSlides/notesSlide12.xml"/><Relationship Id="rId1" Type="http://schemas.openxmlformats.org/officeDocument/2006/relationships/slideLayout" Target="../slideLayouts/slideLayout61.xml"/><Relationship Id="rId4" Type="http://schemas.openxmlformats.org/officeDocument/2006/relationships/image" Target="../media/image52.tmp"/></Relationships>
</file>

<file path=ppt/slides/_rels/slide15.xml.rels><?xml version="1.0" encoding="UTF-8" standalone="yes"?>
<Relationships xmlns="http://schemas.openxmlformats.org/package/2006/relationships"><Relationship Id="rId3" Type="http://schemas.openxmlformats.org/officeDocument/2006/relationships/image" Target="../media/image53.tmp"/><Relationship Id="rId2" Type="http://schemas.openxmlformats.org/officeDocument/2006/relationships/notesSlide" Target="../notesSlides/notesSlide13.xml"/><Relationship Id="rId1" Type="http://schemas.openxmlformats.org/officeDocument/2006/relationships/slideLayout" Target="../slideLayouts/slideLayout61.xml"/><Relationship Id="rId4" Type="http://schemas.openxmlformats.org/officeDocument/2006/relationships/hyperlink" Target="https://www.who.int/publications/i/item/tool-for-influenza-pandemic-risk-assessment-(tipra)-2nd-edition"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cdn.who.int/media/docs/default-source/influenza/who-influenza-recommendations/vcm-northern-hemisphere-recommendation-2024-2025/202402_zoonotic_vaccinvirusupdate.pdf?sfvrsn=70150120_4" TargetMode="External"/><Relationship Id="rId2" Type="http://schemas.openxmlformats.org/officeDocument/2006/relationships/notesSlide" Target="../notesSlides/notesSlide14.xml"/><Relationship Id="rId1" Type="http://schemas.openxmlformats.org/officeDocument/2006/relationships/slideLayout" Target="../slideLayouts/slideLayout61.xml"/><Relationship Id="rId6" Type="http://schemas.openxmlformats.org/officeDocument/2006/relationships/image" Target="../media/image54.png"/><Relationship Id="rId5" Type="http://schemas.openxmlformats.org/officeDocument/2006/relationships/hyperlink" Target="https://www.who.int/publications/m/item/a(h5n1)---northern-hemisphere-2024-2025" TargetMode="External"/><Relationship Id="rId4" Type="http://schemas.openxmlformats.org/officeDocument/2006/relationships/hyperlink" Target="https://www.who.int/publications/m/item/genetic-and-antigenic-characteristics-of-clade-2.3.4.4b-a(h5n1)-viruses-identified-in-dairy-cattle-in-the-united-states-of-america"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55.tmp"/><Relationship Id="rId2" Type="http://schemas.openxmlformats.org/officeDocument/2006/relationships/notesSlide" Target="../notesSlides/notesSlide15.xml"/><Relationship Id="rId1" Type="http://schemas.openxmlformats.org/officeDocument/2006/relationships/slideLayout" Target="../slideLayouts/slideLayout61.xml"/><Relationship Id="rId4" Type="http://schemas.openxmlformats.org/officeDocument/2006/relationships/hyperlink" Target="https://www.who.int/publications/i/item"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16.xml"/><Relationship Id="rId1" Type="http://schemas.openxmlformats.org/officeDocument/2006/relationships/slideLayout" Target="../slideLayouts/slideLayout61.xml"/></Relationships>
</file>

<file path=ppt/slides/_rels/slide19.xml.rels><?xml version="1.0" encoding="UTF-8" standalone="yes"?>
<Relationships xmlns="http://schemas.openxmlformats.org/package/2006/relationships"><Relationship Id="rId3" Type="http://schemas.openxmlformats.org/officeDocument/2006/relationships/hyperlink" Target="https://www.who.int/publications/i/item/WHO-WHE-IHM-GIP-2018.2" TargetMode="External"/><Relationship Id="rId2" Type="http://schemas.openxmlformats.org/officeDocument/2006/relationships/notesSlide" Target="../notesSlides/notesSlide17.xml"/><Relationship Id="rId1" Type="http://schemas.openxmlformats.org/officeDocument/2006/relationships/slideLayout" Target="../slideLayouts/slideLayout61.xml"/><Relationship Id="rId4" Type="http://schemas.openxmlformats.org/officeDocument/2006/relationships/image" Target="../media/image57.tmp"/></Relationships>
</file>

<file path=ppt/slides/_rels/slide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61.xml"/></Relationships>
</file>

<file path=ppt/slides/_rels/slide2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image" Target="../media/image60.tmp"/><Relationship Id="rId2" Type="http://schemas.openxmlformats.org/officeDocument/2006/relationships/notesSlide" Target="../notesSlides/notesSlide18.xml"/><Relationship Id="rId1" Type="http://schemas.openxmlformats.org/officeDocument/2006/relationships/slideLayout" Target="../slideLayouts/slideLayout61.xml"/><Relationship Id="rId4" Type="http://schemas.openxmlformats.org/officeDocument/2006/relationships/hyperlink" Target="https://iris.who.int/bitstream/handle/10665/372248/9789240076884-eng.pdf?sequence=1"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1.xml"/></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3.xml"/><Relationship Id="rId1" Type="http://schemas.openxmlformats.org/officeDocument/2006/relationships/slideLayout" Target="../slideLayouts/slideLayout79.xml"/><Relationship Id="rId4" Type="http://schemas.openxmlformats.org/officeDocument/2006/relationships/hyperlink" Target="https://www.cdc.gov/bird-flu/php/technical-report/h5n1-06052024.html"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4.xml"/><Relationship Id="rId1" Type="http://schemas.openxmlformats.org/officeDocument/2006/relationships/slideLayout" Target="../slideLayouts/slideLayout10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79.xml"/></Relationships>
</file>

<file path=ppt/slides/_rels/slide31.xml.rels><?xml version="1.0" encoding="UTF-8" standalone="yes"?>
<Relationships xmlns="http://schemas.openxmlformats.org/package/2006/relationships"><Relationship Id="rId3" Type="http://schemas.openxmlformats.org/officeDocument/2006/relationships/hyperlink" Target="https://www.aphis.usda.gov/livestock-poultry-disease/avian/avian-influenza/hpai-detections/livestock" TargetMode="External"/><Relationship Id="rId2" Type="http://schemas.openxmlformats.org/officeDocument/2006/relationships/notesSlide" Target="../notesSlides/notesSlide27.xml"/><Relationship Id="rId1" Type="http://schemas.openxmlformats.org/officeDocument/2006/relationships/slideLayout" Target="../slideLayouts/slideLayout79.xml"/><Relationship Id="rId4" Type="http://schemas.openxmlformats.org/officeDocument/2006/relationships/image" Target="../media/image65.png"/></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8.xml"/><Relationship Id="rId1" Type="http://schemas.openxmlformats.org/officeDocument/2006/relationships/slideLayout" Target="../slideLayouts/slideLayout92.xml"/></Relationships>
</file>

<file path=ppt/slides/_rels/slide33.xml.rels><?xml version="1.0" encoding="UTF-8" standalone="yes"?>
<Relationships xmlns="http://schemas.openxmlformats.org/package/2006/relationships"><Relationship Id="rId3" Type="http://schemas.openxmlformats.org/officeDocument/2006/relationships/hyperlink" Target="https://www.cdc.gov/bird-flu/h5-monitoring/index.html" TargetMode="External"/><Relationship Id="rId2" Type="http://schemas.openxmlformats.org/officeDocument/2006/relationships/notesSlide" Target="../notesSlides/notesSlide29.xml"/><Relationship Id="rId1" Type="http://schemas.openxmlformats.org/officeDocument/2006/relationships/slideLayout" Target="../slideLayouts/slideLayout79.xml"/></Relationships>
</file>

<file path=ppt/slides/_rels/slide3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30.xml"/><Relationship Id="rId1" Type="http://schemas.openxmlformats.org/officeDocument/2006/relationships/slideLayout" Target="../slideLayouts/slideLayout109.xml"/><Relationship Id="rId4" Type="http://schemas.openxmlformats.org/officeDocument/2006/relationships/hyperlink" Target="https://my.clevelandclinic.org/health/diseases/22401-bird-flu"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90.xml"/><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70.png"/><Relationship Id="rId7"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90.xml"/><Relationship Id="rId6" Type="http://schemas.openxmlformats.org/officeDocument/2006/relationships/image" Target="../media/image71.png"/><Relationship Id="rId5" Type="http://schemas.openxmlformats.org/officeDocument/2006/relationships/hyperlink" Target="https://www.cdc.gov/flu/weekly/index.htm" TargetMode="External"/><Relationship Id="rId4" Type="http://schemas.openxmlformats.org/officeDocument/2006/relationships/hyperlink" Target="https://www.cdc.gov/bird-flu/h5-monitoring/index.html?CDC_AA_refVal=https%3A%2F%2Fwww.cdc.gov%2Fflu%2Favianflu%2Fh5-monitoring.html"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3.xml"/><Relationship Id="rId1" Type="http://schemas.openxmlformats.org/officeDocument/2006/relationships/slideLayout" Target="../slideLayouts/slideLayout90.xml"/><Relationship Id="rId4" Type="http://schemas.openxmlformats.org/officeDocument/2006/relationships/image" Target="../media/image75.png"/></Relationships>
</file>

<file path=ppt/slides/_rels/slide38.xml.rels><?xml version="1.0" encoding="UTF-8" standalone="yes"?>
<Relationships xmlns="http://schemas.openxmlformats.org/package/2006/relationships"><Relationship Id="rId3" Type="http://schemas.openxmlformats.org/officeDocument/2006/relationships/image" Target="../media/image76.gif"/><Relationship Id="rId7" Type="http://schemas.openxmlformats.org/officeDocument/2006/relationships/hyperlink" Target="https://www.cdc.gov/pandemic-flu/php/national-strategy/influenza-risk-assessment-tool.html?CDC_AAref_Val=https://www.cdc.gov/flu/pandemic-resources/national-strategy/risk-assessment.htm" TargetMode="External"/><Relationship Id="rId2" Type="http://schemas.openxmlformats.org/officeDocument/2006/relationships/notesSlide" Target="../notesSlides/notesSlide34.xml"/><Relationship Id="rId1" Type="http://schemas.openxmlformats.org/officeDocument/2006/relationships/slideLayout" Target="../slideLayouts/slideLayout79.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3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5.xml"/><Relationship Id="rId1" Type="http://schemas.openxmlformats.org/officeDocument/2006/relationships/slideLayout" Target="../slideLayouts/slideLayout79.xml"/><Relationship Id="rId4" Type="http://schemas.openxmlformats.org/officeDocument/2006/relationships/hyperlink" Target="https://www.cdc.gov/pandemic-flu/php/national-strategy/influenza-risk-assessment-tool.html?CDC_AAref_Val=https://www.cdc.gov/flu/pandemic-resources/national-strategy/risk-assessment.ht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41.jpg"/></Relationships>
</file>

<file path=ppt/slides/_rels/slide40.xml.rels><?xml version="1.0" encoding="UTF-8" standalone="yes"?>
<Relationships xmlns="http://schemas.openxmlformats.org/package/2006/relationships"><Relationship Id="rId3" Type="http://schemas.openxmlformats.org/officeDocument/2006/relationships/hyperlink" Target="https://www.cdc.gov/flu/avianflu/hpai/hpai-interim-recommendations.html" TargetMode="External"/><Relationship Id="rId2" Type="http://schemas.openxmlformats.org/officeDocument/2006/relationships/notesSlide" Target="../notesSlides/notesSlide36.xml"/><Relationship Id="rId1" Type="http://schemas.openxmlformats.org/officeDocument/2006/relationships/slideLayout" Target="../slideLayouts/slideLayout79.xml"/><Relationship Id="rId4" Type="http://schemas.openxmlformats.org/officeDocument/2006/relationships/image" Target="../media/image80.png"/></Relationships>
</file>

<file path=ppt/slides/_rels/slide41.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hyperlink" Target="https://www.cdc.gov/bird-flu/spotlights/h5n1-response-07192024.html" TargetMode="External"/><Relationship Id="rId7" Type="http://schemas.openxmlformats.org/officeDocument/2006/relationships/hyperlink" Target="https://www.cdc.gov/flu/avianflu/h5/worker-protection-ppe.htm" TargetMode="External"/><Relationship Id="rId2" Type="http://schemas.openxmlformats.org/officeDocument/2006/relationships/notesSlide" Target="../notesSlides/notesSlide37.xml"/><Relationship Id="rId1" Type="http://schemas.openxmlformats.org/officeDocument/2006/relationships/slideLayout" Target="../slideLayouts/slideLayout79.xml"/><Relationship Id="rId6" Type="http://schemas.openxmlformats.org/officeDocument/2006/relationships/hyperlink" Target="https://www.cdc.gov/bird-flu/php/technical-report/h5n1-06052024.html" TargetMode="External"/><Relationship Id="rId5" Type="http://schemas.openxmlformats.org/officeDocument/2006/relationships/hyperlink" Target="https://www.cdc.gov/flu/avianflu/h5-monitoring.html" TargetMode="External"/><Relationship Id="rId4" Type="http://schemas.openxmlformats.org/officeDocument/2006/relationships/hyperlink" Target="https://www.cdc.gov/flu/avianflu/hpai/hpai-interim-recommendations.html"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4.xml"/><Relationship Id="rId1" Type="http://schemas.openxmlformats.org/officeDocument/2006/relationships/tags" Target="../tags/tag5.xml"/><Relationship Id="rId5" Type="http://schemas.openxmlformats.org/officeDocument/2006/relationships/image" Target="../media/image15.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2" Type="http://schemas.openxmlformats.org/officeDocument/2006/relationships/image" Target="../media/image42.gif"/><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6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7.xml"/><Relationship Id="rId1" Type="http://schemas.openxmlformats.org/officeDocument/2006/relationships/slideLayout" Target="../slideLayouts/slideLayout60.xml"/><Relationship Id="rId4" Type="http://schemas.openxmlformats.org/officeDocument/2006/relationships/hyperlink" Target="https://www.who.int/initiatives/global-influenza-surveillance-and-response-syste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1F4989-6A39-455E-9C10-50A2987551CD}"/>
              </a:ext>
            </a:extLst>
          </p:cNvPr>
          <p:cNvPicPr>
            <a:picLocks/>
          </p:cNvPicPr>
          <p:nvPr/>
        </p:nvPicPr>
        <p:blipFill>
          <a:blip r:embed="rId3">
            <a:extLst>
              <a:ext uri="{28A0092B-C50C-407E-A947-70E740481C1C}">
                <a14:useLocalDpi xmlns:a14="http://schemas.microsoft.com/office/drawing/2010/main" val="0"/>
              </a:ext>
            </a:extLst>
          </a:blip>
          <a:srcRect l="10399" r="10399"/>
          <a:stretch/>
        </p:blipFill>
        <p:spPr>
          <a:xfrm>
            <a:off x="-18854" y="0"/>
            <a:ext cx="7248155" cy="6863542"/>
          </a:xfrm>
          <a:prstGeom prst="rect">
            <a:avLst/>
          </a:prstGeom>
        </p:spPr>
      </p:pic>
      <p:sp>
        <p:nvSpPr>
          <p:cNvPr id="223" name="Title 222">
            <a:extLst>
              <a:ext uri="{FF2B5EF4-FFF2-40B4-BE49-F238E27FC236}">
                <a16:creationId xmlns:a16="http://schemas.microsoft.com/office/drawing/2014/main" id="{80D8679A-2C93-4711-A590-CAD021EDF5FD}"/>
              </a:ext>
            </a:extLst>
          </p:cNvPr>
          <p:cNvSpPr>
            <a:spLocks noGrp="1"/>
          </p:cNvSpPr>
          <p:nvPr>
            <p:ph type="title"/>
          </p:nvPr>
        </p:nvSpPr>
        <p:spPr>
          <a:xfrm>
            <a:off x="7584536" y="564890"/>
            <a:ext cx="4312938" cy="3133807"/>
          </a:xfrm>
          <a:noFill/>
        </p:spPr>
        <p:txBody>
          <a:bodyPr/>
          <a:lstStyle/>
          <a:p>
            <a:pPr algn="ctr" rtl="0"/>
            <a:r>
              <a:rPr lang="en-US" sz="2800" b="1" i="0" u="none" strike="noStrike" dirty="0">
                <a:solidFill>
                  <a:schemeClr val="bg1"/>
                </a:solidFill>
                <a:effectLst/>
                <a:latin typeface="Noah Reg"/>
              </a:rPr>
              <a:t>Is the Next Pandemic Already Here? The Looming Threat of H5N1</a:t>
            </a:r>
            <a:br>
              <a:rPr lang="en-US" sz="2800" b="1" i="0" u="none" strike="noStrike" dirty="0">
                <a:solidFill>
                  <a:schemeClr val="bg1"/>
                </a:solidFill>
                <a:effectLst/>
                <a:latin typeface="Noah Reg"/>
              </a:rPr>
            </a:br>
            <a:br>
              <a:rPr lang="en-US" sz="2800" b="1" i="0" u="none" strike="noStrike" dirty="0">
                <a:solidFill>
                  <a:schemeClr val="bg1"/>
                </a:solidFill>
                <a:effectLst/>
                <a:latin typeface="Noah Reg"/>
              </a:rPr>
            </a:br>
            <a:br>
              <a:rPr lang="en-US" sz="2800" b="1" i="0" u="none" strike="noStrike" dirty="0">
                <a:solidFill>
                  <a:schemeClr val="bg1"/>
                </a:solidFill>
                <a:effectLst/>
                <a:latin typeface="Noah Reg"/>
              </a:rPr>
            </a:br>
            <a:r>
              <a:rPr lang="en-US" sz="1500" b="1" i="0" u="none" strike="noStrike" dirty="0">
                <a:solidFill>
                  <a:schemeClr val="bg1"/>
                </a:solidFill>
                <a:effectLst/>
                <a:latin typeface="Noah Reg"/>
              </a:rPr>
              <a:t>Co-sponsored by ICAP and the New York City Pandemic Response Institute (PRI)</a:t>
            </a:r>
            <a:br>
              <a:rPr lang="en-US" sz="1100" b="1" i="0" dirty="0">
                <a:solidFill>
                  <a:srgbClr val="000000"/>
                </a:solidFill>
                <a:effectLst/>
                <a:highlight>
                  <a:srgbClr val="FFFFFF"/>
                </a:highlight>
                <a:latin typeface="Helvetica Neue"/>
              </a:rPr>
            </a:br>
            <a:r>
              <a:rPr lang="en-US" sz="2800" dirty="0">
                <a:solidFill>
                  <a:schemeClr val="bg1"/>
                </a:solidFill>
                <a:latin typeface="Noah Reg"/>
              </a:rPr>
              <a:t> </a:t>
            </a:r>
            <a:br>
              <a:rPr lang="en-US" sz="2400" b="1" i="0" u="none" strike="noStrike" dirty="0">
                <a:solidFill>
                  <a:schemeClr val="bg1"/>
                </a:solidFill>
                <a:effectLst/>
                <a:latin typeface="Noah Reg"/>
              </a:rPr>
            </a:br>
            <a:br>
              <a:rPr lang="en-US" sz="800" b="1" i="0" u="none" strike="noStrike" dirty="0">
                <a:solidFill>
                  <a:srgbClr val="383838"/>
                </a:solidFill>
                <a:effectLst/>
                <a:latin typeface="Noah Reg"/>
              </a:rPr>
            </a:br>
            <a:br>
              <a:rPr lang="en-US" sz="800" b="1" i="0" u="none" strike="noStrike" dirty="0">
                <a:solidFill>
                  <a:srgbClr val="383838"/>
                </a:solidFill>
                <a:effectLst/>
                <a:latin typeface="Noah Reg"/>
              </a:rPr>
            </a:br>
            <a:br>
              <a:rPr lang="en-US" sz="1400" b="1" i="0" u="none" strike="noStrike" dirty="0">
                <a:solidFill>
                  <a:srgbClr val="383838"/>
                </a:solidFill>
                <a:effectLst/>
                <a:latin typeface="Noah Reg"/>
              </a:rPr>
            </a:br>
            <a:endParaRPr lang="en-US" sz="3400" spc="100" dirty="0">
              <a:solidFill>
                <a:schemeClr val="bg1"/>
              </a:solidFill>
              <a:latin typeface="Calibri" panose="020F0502020204030204" pitchFamily="34" charset="0"/>
              <a:cs typeface="Calibri" panose="020F0502020204030204" pitchFamily="34" charset="0"/>
            </a:endParaRPr>
          </a:p>
        </p:txBody>
      </p:sp>
      <p:sp>
        <p:nvSpPr>
          <p:cNvPr id="3" name="Rectangle: Rounded Corners 2">
            <a:extLst>
              <a:ext uri="{FF2B5EF4-FFF2-40B4-BE49-F238E27FC236}">
                <a16:creationId xmlns:a16="http://schemas.microsoft.com/office/drawing/2014/main" id="{8248D6B2-DE89-4576-98A3-B38B920848E5}"/>
              </a:ext>
            </a:extLst>
          </p:cNvPr>
          <p:cNvSpPr/>
          <p:nvPr/>
        </p:nvSpPr>
        <p:spPr>
          <a:xfrm>
            <a:off x="539524" y="341607"/>
            <a:ext cx="2994837" cy="446566"/>
          </a:xfrm>
          <a:prstGeom prst="roundRect">
            <a:avLst>
              <a:gd name="adj" fmla="val 50000"/>
            </a:avLst>
          </a:prstGeom>
          <a:solidFill>
            <a:srgbClr val="0221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spc="80">
                <a:solidFill>
                  <a:schemeClr val="bg1"/>
                </a:solidFill>
                <a:latin typeface="Century Gothic" panose="020B0502020202020204" pitchFamily="34" charset="0"/>
              </a:rPr>
              <a:t>ICAP GRAND ROUNDS</a:t>
            </a:r>
          </a:p>
        </p:txBody>
      </p:sp>
      <p:sp>
        <p:nvSpPr>
          <p:cNvPr id="7" name="Rectangle: Rounded Corners 6">
            <a:extLst>
              <a:ext uri="{FF2B5EF4-FFF2-40B4-BE49-F238E27FC236}">
                <a16:creationId xmlns:a16="http://schemas.microsoft.com/office/drawing/2014/main" id="{9E364E1A-06BE-44A8-BA33-4F626F1D6775}"/>
              </a:ext>
            </a:extLst>
          </p:cNvPr>
          <p:cNvSpPr/>
          <p:nvPr/>
        </p:nvSpPr>
        <p:spPr>
          <a:xfrm>
            <a:off x="8084337" y="4017840"/>
            <a:ext cx="2994837" cy="446566"/>
          </a:xfrm>
          <a:prstGeom prst="roundRect">
            <a:avLst>
              <a:gd name="adj" fmla="val 50000"/>
            </a:avLst>
          </a:prstGeom>
          <a:solidFill>
            <a:srgbClr val="0221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spc="80" dirty="0">
                <a:solidFill>
                  <a:schemeClr val="bg1"/>
                </a:solidFill>
                <a:latin typeface="Century Gothic" panose="020B0502020202020204" pitchFamily="34" charset="0"/>
              </a:rPr>
              <a:t>August 27, 2024</a:t>
            </a:r>
          </a:p>
        </p:txBody>
      </p:sp>
    </p:spTree>
    <p:extLst>
      <p:ext uri="{BB962C8B-B14F-4D97-AF65-F5344CB8AC3E}">
        <p14:creationId xmlns:p14="http://schemas.microsoft.com/office/powerpoint/2010/main" val="34911930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54FF4-87B8-A4B6-77D3-F3D3681CE3D5}"/>
              </a:ext>
            </a:extLst>
          </p:cNvPr>
          <p:cNvSpPr>
            <a:spLocks noGrp="1"/>
          </p:cNvSpPr>
          <p:nvPr>
            <p:ph type="title"/>
          </p:nvPr>
        </p:nvSpPr>
        <p:spPr/>
        <p:txBody>
          <a:bodyPr>
            <a:normAutofit/>
          </a:bodyPr>
          <a:lstStyle/>
          <a:p>
            <a:pPr>
              <a:spcBef>
                <a:spcPts val="1800"/>
              </a:spcBef>
            </a:pPr>
            <a:r>
              <a:rPr lang="en-US" dirty="0">
                <a:ea typeface="Calibri"/>
                <a:cs typeface="Calibri"/>
              </a:rPr>
              <a:t>GISRS monitoring of zoonotic influenza, 2003-2024</a:t>
            </a:r>
          </a:p>
        </p:txBody>
      </p:sp>
      <p:sp>
        <p:nvSpPr>
          <p:cNvPr id="3" name="Text Placeholder 8">
            <a:extLst>
              <a:ext uri="{FF2B5EF4-FFF2-40B4-BE49-F238E27FC236}">
                <a16:creationId xmlns:a16="http://schemas.microsoft.com/office/drawing/2014/main" id="{0DDC629F-9C0E-995E-6AC0-3DB828BF0D1D}"/>
              </a:ext>
            </a:extLst>
          </p:cNvPr>
          <p:cNvSpPr txBox="1">
            <a:spLocks/>
          </p:cNvSpPr>
          <p:nvPr/>
        </p:nvSpPr>
        <p:spPr>
          <a:xfrm>
            <a:off x="3760091" y="5790628"/>
            <a:ext cx="5157788" cy="823912"/>
          </a:xfrm>
          <a:prstGeom prst="rect">
            <a:avLst/>
          </a:prstGeom>
        </p:spPr>
        <p:txBody>
          <a:bodyPr vert="horz" lIns="91440" tIns="45720" rIns="91440" bIns="45720" rtlCol="0">
            <a:normAutofit/>
          </a:bodyPr>
          <a:lstStyle>
            <a:lvl1pPr marL="228612" indent="-228612" algn="l" defTabSz="914446" rtl="0" eaLnBrk="1" latinLnBrk="0" hangingPunct="1">
              <a:lnSpc>
                <a:spcPct val="90000"/>
              </a:lnSpc>
              <a:spcBef>
                <a:spcPts val="1000"/>
              </a:spcBef>
              <a:buClr>
                <a:schemeClr val="accent2"/>
              </a:buClr>
              <a:buFont typeface="Arial" panose="020B0604020202020204" pitchFamily="34" charset="0"/>
              <a:buChar char="•"/>
              <a:defRPr sz="2400" kern="1200">
                <a:solidFill>
                  <a:schemeClr val="tx1"/>
                </a:solidFill>
                <a:latin typeface="Avenir Book" panose="02000503020000020003" pitchFamily="2" charset="0"/>
                <a:ea typeface="+mn-ea"/>
                <a:cs typeface="+mn-cs"/>
              </a:defRPr>
            </a:lvl1pPr>
            <a:lvl2pPr marL="587405" indent="-309579" algn="l" defTabSz="914446" rtl="0" eaLnBrk="1" latinLnBrk="0" hangingPunct="1">
              <a:lnSpc>
                <a:spcPct val="90000"/>
              </a:lnSpc>
              <a:spcBef>
                <a:spcPts val="500"/>
              </a:spcBef>
              <a:buClr>
                <a:schemeClr val="accent2"/>
              </a:buClr>
              <a:buSzPct val="100000"/>
              <a:buFont typeface="System Font Regular"/>
              <a:buChar char="‣"/>
              <a:tabLst/>
              <a:defRPr sz="2000" kern="1200">
                <a:solidFill>
                  <a:schemeClr val="tx1"/>
                </a:solidFill>
                <a:latin typeface="Avenir Book" panose="02000503020000020003" pitchFamily="2" charset="0"/>
                <a:ea typeface="+mn-ea"/>
                <a:cs typeface="+mn-cs"/>
              </a:defRPr>
            </a:lvl2pPr>
            <a:lvl3pPr marL="804903" indent="-201623" algn="l" defTabSz="914446" rtl="0" eaLnBrk="1" latinLnBrk="0" hangingPunct="1">
              <a:lnSpc>
                <a:spcPct val="90000"/>
              </a:lnSpc>
              <a:spcBef>
                <a:spcPts val="500"/>
              </a:spcBef>
              <a:buClr>
                <a:schemeClr val="accent3"/>
              </a:buClr>
              <a:buFont typeface="Arial" panose="020B0604020202020204" pitchFamily="34" charset="0"/>
              <a:buChar char="•"/>
              <a:tabLst/>
              <a:defRPr sz="1800" kern="1200">
                <a:solidFill>
                  <a:schemeClr val="tx1"/>
                </a:solidFill>
                <a:latin typeface="Avenir Book" panose="02000503020000020003" pitchFamily="2" charset="0"/>
                <a:ea typeface="+mn-ea"/>
                <a:cs typeface="+mn-cs"/>
              </a:defRPr>
            </a:lvl3pPr>
            <a:lvl4pPr marL="1068442" indent="-233375" algn="l" defTabSz="914446" rtl="0" eaLnBrk="1" latinLnBrk="0" hangingPunct="1">
              <a:lnSpc>
                <a:spcPct val="90000"/>
              </a:lnSpc>
              <a:spcBef>
                <a:spcPts val="500"/>
              </a:spcBef>
              <a:buClr>
                <a:schemeClr val="accent3"/>
              </a:buClr>
              <a:buFont typeface="System Font Regular"/>
              <a:buChar char="‣"/>
              <a:tabLst/>
              <a:defRPr sz="1600" kern="1200">
                <a:solidFill>
                  <a:schemeClr val="tx1"/>
                </a:solidFill>
                <a:latin typeface="Avenir Book" panose="02000503020000020003" pitchFamily="2" charset="0"/>
                <a:ea typeface="+mn-ea"/>
                <a:cs typeface="+mn-cs"/>
              </a:defRPr>
            </a:lvl4pPr>
            <a:lvl5pPr marL="1300228" indent="-217498" algn="l" defTabSz="914446" rtl="0" eaLnBrk="1" latinLnBrk="0" hangingPunct="1">
              <a:lnSpc>
                <a:spcPct val="90000"/>
              </a:lnSpc>
              <a:spcBef>
                <a:spcPts val="500"/>
              </a:spcBef>
              <a:buClr>
                <a:schemeClr val="accent3"/>
              </a:buClr>
              <a:buSzPct val="80000"/>
              <a:buFont typeface="Courier New" panose="02070309020205020404" pitchFamily="49" charset="0"/>
              <a:buChar char="o"/>
              <a:tabLst/>
              <a:defRPr sz="1600" kern="1200">
                <a:solidFill>
                  <a:schemeClr val="tx1"/>
                </a:solidFill>
                <a:latin typeface="Avenir Book" panose="02000503020000020003" pitchFamily="2" charset="0"/>
                <a:ea typeface="+mn-ea"/>
                <a:cs typeface="+mn-cs"/>
              </a:defRPr>
            </a:lvl5pPr>
            <a:lvl6pPr marL="2514726" indent="-228612"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2"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2" indent="-228612"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2"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90000"/>
              </a:lnSpc>
              <a:spcBef>
                <a:spcPts val="1000"/>
              </a:spcBef>
              <a:spcAft>
                <a:spcPts val="0"/>
              </a:spcAft>
              <a:buClr>
                <a:srgbClr val="F16829"/>
              </a:buClr>
              <a:buSzTx/>
              <a:buFont typeface="Arial" panose="020B0604020202020204" pitchFamily="34" charset="0"/>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Calibri"/>
            </a:endParaRPr>
          </a:p>
        </p:txBody>
      </p:sp>
      <p:pic>
        <p:nvPicPr>
          <p:cNvPr id="5" name="Picture 4" descr="A graph of a graph showing different colored bars&#10;&#10;Description automatically generated with medium confidence">
            <a:extLst>
              <a:ext uri="{FF2B5EF4-FFF2-40B4-BE49-F238E27FC236}">
                <a16:creationId xmlns:a16="http://schemas.microsoft.com/office/drawing/2014/main" id="{48845C21-5951-5013-57C8-45AF5507DA05}"/>
              </a:ext>
            </a:extLst>
          </p:cNvPr>
          <p:cNvPicPr>
            <a:picLocks noChangeAspect="1"/>
          </p:cNvPicPr>
          <p:nvPr/>
        </p:nvPicPr>
        <p:blipFill>
          <a:blip r:embed="rId3"/>
          <a:stretch>
            <a:fillRect/>
          </a:stretch>
        </p:blipFill>
        <p:spPr>
          <a:xfrm>
            <a:off x="0" y="2081571"/>
            <a:ext cx="12192000" cy="2694857"/>
          </a:xfrm>
          <a:prstGeom prst="rect">
            <a:avLst/>
          </a:prstGeom>
        </p:spPr>
      </p:pic>
    </p:spTree>
    <p:extLst>
      <p:ext uri="{BB962C8B-B14F-4D97-AF65-F5344CB8AC3E}">
        <p14:creationId xmlns:p14="http://schemas.microsoft.com/office/powerpoint/2010/main" val="9974248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54FF4-87B8-A4B6-77D3-F3D3681CE3D5}"/>
              </a:ext>
            </a:extLst>
          </p:cNvPr>
          <p:cNvSpPr>
            <a:spLocks noGrp="1"/>
          </p:cNvSpPr>
          <p:nvPr>
            <p:ph type="title"/>
          </p:nvPr>
        </p:nvSpPr>
        <p:spPr/>
        <p:txBody>
          <a:bodyPr>
            <a:normAutofit/>
          </a:bodyPr>
          <a:lstStyle/>
          <a:p>
            <a:pPr>
              <a:spcBef>
                <a:spcPts val="1800"/>
              </a:spcBef>
            </a:pPr>
            <a:r>
              <a:rPr lang="en-US" dirty="0">
                <a:ea typeface="Calibri"/>
                <a:cs typeface="Calibri"/>
              </a:rPr>
              <a:t>GISRS monitoring of zoonotic influenza, 2003-2024</a:t>
            </a:r>
          </a:p>
        </p:txBody>
      </p:sp>
      <p:sp>
        <p:nvSpPr>
          <p:cNvPr id="3" name="Text Placeholder 8">
            <a:extLst>
              <a:ext uri="{FF2B5EF4-FFF2-40B4-BE49-F238E27FC236}">
                <a16:creationId xmlns:a16="http://schemas.microsoft.com/office/drawing/2014/main" id="{0DDC629F-9C0E-995E-6AC0-3DB828BF0D1D}"/>
              </a:ext>
            </a:extLst>
          </p:cNvPr>
          <p:cNvSpPr txBox="1">
            <a:spLocks/>
          </p:cNvSpPr>
          <p:nvPr/>
        </p:nvSpPr>
        <p:spPr>
          <a:xfrm>
            <a:off x="3760091" y="5790628"/>
            <a:ext cx="5157788" cy="823912"/>
          </a:xfrm>
          <a:prstGeom prst="rect">
            <a:avLst/>
          </a:prstGeom>
        </p:spPr>
        <p:txBody>
          <a:bodyPr vert="horz" lIns="91440" tIns="45720" rIns="91440" bIns="45720" rtlCol="0">
            <a:normAutofit/>
          </a:bodyPr>
          <a:lstStyle>
            <a:lvl1pPr marL="228612" indent="-228612" algn="l" defTabSz="914446" rtl="0" eaLnBrk="1" latinLnBrk="0" hangingPunct="1">
              <a:lnSpc>
                <a:spcPct val="90000"/>
              </a:lnSpc>
              <a:spcBef>
                <a:spcPts val="1000"/>
              </a:spcBef>
              <a:buClr>
                <a:schemeClr val="accent2"/>
              </a:buClr>
              <a:buFont typeface="Arial" panose="020B0604020202020204" pitchFamily="34" charset="0"/>
              <a:buChar char="•"/>
              <a:defRPr sz="2400" kern="1200">
                <a:solidFill>
                  <a:schemeClr val="tx1"/>
                </a:solidFill>
                <a:latin typeface="Avenir Book" panose="02000503020000020003" pitchFamily="2" charset="0"/>
                <a:ea typeface="+mn-ea"/>
                <a:cs typeface="+mn-cs"/>
              </a:defRPr>
            </a:lvl1pPr>
            <a:lvl2pPr marL="587405" indent="-309579" algn="l" defTabSz="914446" rtl="0" eaLnBrk="1" latinLnBrk="0" hangingPunct="1">
              <a:lnSpc>
                <a:spcPct val="90000"/>
              </a:lnSpc>
              <a:spcBef>
                <a:spcPts val="500"/>
              </a:spcBef>
              <a:buClr>
                <a:schemeClr val="accent2"/>
              </a:buClr>
              <a:buSzPct val="100000"/>
              <a:buFont typeface="System Font Regular"/>
              <a:buChar char="‣"/>
              <a:tabLst/>
              <a:defRPr sz="2000" kern="1200">
                <a:solidFill>
                  <a:schemeClr val="tx1"/>
                </a:solidFill>
                <a:latin typeface="Avenir Book" panose="02000503020000020003" pitchFamily="2" charset="0"/>
                <a:ea typeface="+mn-ea"/>
                <a:cs typeface="+mn-cs"/>
              </a:defRPr>
            </a:lvl2pPr>
            <a:lvl3pPr marL="804903" indent="-201623" algn="l" defTabSz="914446" rtl="0" eaLnBrk="1" latinLnBrk="0" hangingPunct="1">
              <a:lnSpc>
                <a:spcPct val="90000"/>
              </a:lnSpc>
              <a:spcBef>
                <a:spcPts val="500"/>
              </a:spcBef>
              <a:buClr>
                <a:schemeClr val="accent3"/>
              </a:buClr>
              <a:buFont typeface="Arial" panose="020B0604020202020204" pitchFamily="34" charset="0"/>
              <a:buChar char="•"/>
              <a:tabLst/>
              <a:defRPr sz="1800" kern="1200">
                <a:solidFill>
                  <a:schemeClr val="tx1"/>
                </a:solidFill>
                <a:latin typeface="Avenir Book" panose="02000503020000020003" pitchFamily="2" charset="0"/>
                <a:ea typeface="+mn-ea"/>
                <a:cs typeface="+mn-cs"/>
              </a:defRPr>
            </a:lvl3pPr>
            <a:lvl4pPr marL="1068442" indent="-233375" algn="l" defTabSz="914446" rtl="0" eaLnBrk="1" latinLnBrk="0" hangingPunct="1">
              <a:lnSpc>
                <a:spcPct val="90000"/>
              </a:lnSpc>
              <a:spcBef>
                <a:spcPts val="500"/>
              </a:spcBef>
              <a:buClr>
                <a:schemeClr val="accent3"/>
              </a:buClr>
              <a:buFont typeface="System Font Regular"/>
              <a:buChar char="‣"/>
              <a:tabLst/>
              <a:defRPr sz="1600" kern="1200">
                <a:solidFill>
                  <a:schemeClr val="tx1"/>
                </a:solidFill>
                <a:latin typeface="Avenir Book" panose="02000503020000020003" pitchFamily="2" charset="0"/>
                <a:ea typeface="+mn-ea"/>
                <a:cs typeface="+mn-cs"/>
              </a:defRPr>
            </a:lvl4pPr>
            <a:lvl5pPr marL="1300228" indent="-217498" algn="l" defTabSz="914446" rtl="0" eaLnBrk="1" latinLnBrk="0" hangingPunct="1">
              <a:lnSpc>
                <a:spcPct val="90000"/>
              </a:lnSpc>
              <a:spcBef>
                <a:spcPts val="500"/>
              </a:spcBef>
              <a:buClr>
                <a:schemeClr val="accent3"/>
              </a:buClr>
              <a:buSzPct val="80000"/>
              <a:buFont typeface="Courier New" panose="02070309020205020404" pitchFamily="49" charset="0"/>
              <a:buChar char="o"/>
              <a:tabLst/>
              <a:defRPr sz="1600" kern="1200">
                <a:solidFill>
                  <a:schemeClr val="tx1"/>
                </a:solidFill>
                <a:latin typeface="Avenir Book" panose="02000503020000020003" pitchFamily="2" charset="0"/>
                <a:ea typeface="+mn-ea"/>
                <a:cs typeface="+mn-cs"/>
              </a:defRPr>
            </a:lvl5pPr>
            <a:lvl6pPr marL="2514726" indent="-228612"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2"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2" indent="-228612"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2"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46" rtl="0" eaLnBrk="1" fontAlgn="auto" latinLnBrk="0" hangingPunct="1">
              <a:lnSpc>
                <a:spcPct val="90000"/>
              </a:lnSpc>
              <a:spcBef>
                <a:spcPts val="1000"/>
              </a:spcBef>
              <a:spcAft>
                <a:spcPts val="0"/>
              </a:spcAft>
              <a:buClr>
                <a:srgbClr val="F16829"/>
              </a:buClr>
              <a:buSzTx/>
              <a:buFont typeface="Arial" panose="020B0604020202020204" pitchFamily="34" charset="0"/>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Calibri"/>
            </a:endParaRPr>
          </a:p>
        </p:txBody>
      </p:sp>
      <p:pic>
        <p:nvPicPr>
          <p:cNvPr id="8" name="Picture 7" descr="A graph of a number of cases&#10;&#10;Description automatically generated">
            <a:extLst>
              <a:ext uri="{FF2B5EF4-FFF2-40B4-BE49-F238E27FC236}">
                <a16:creationId xmlns:a16="http://schemas.microsoft.com/office/drawing/2014/main" id="{B370B2DA-35A6-0165-5E1F-E2435E97BC52}"/>
              </a:ext>
            </a:extLst>
          </p:cNvPr>
          <p:cNvPicPr>
            <a:picLocks noChangeAspect="1"/>
          </p:cNvPicPr>
          <p:nvPr/>
        </p:nvPicPr>
        <p:blipFill>
          <a:blip r:embed="rId3"/>
          <a:stretch>
            <a:fillRect/>
          </a:stretch>
        </p:blipFill>
        <p:spPr>
          <a:xfrm>
            <a:off x="0" y="2083580"/>
            <a:ext cx="12192000" cy="2690840"/>
          </a:xfrm>
          <a:prstGeom prst="rect">
            <a:avLst/>
          </a:prstGeom>
        </p:spPr>
      </p:pic>
    </p:spTree>
    <p:extLst>
      <p:ext uri="{BB962C8B-B14F-4D97-AF65-F5344CB8AC3E}">
        <p14:creationId xmlns:p14="http://schemas.microsoft.com/office/powerpoint/2010/main" val="19270745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501597-C543-3040-841E-068E87BBFD42}"/>
              </a:ext>
            </a:extLst>
          </p:cNvPr>
          <p:cNvPicPr>
            <a:picLocks noChangeAspect="1"/>
          </p:cNvPicPr>
          <p:nvPr/>
        </p:nvPicPr>
        <p:blipFill>
          <a:blip r:embed="rId3"/>
          <a:stretch>
            <a:fillRect/>
          </a:stretch>
        </p:blipFill>
        <p:spPr>
          <a:xfrm>
            <a:off x="7693006" y="1071494"/>
            <a:ext cx="4373790" cy="3335566"/>
          </a:xfrm>
          <a:prstGeom prst="rect">
            <a:avLst/>
          </a:prstGeom>
        </p:spPr>
      </p:pic>
      <p:sp>
        <p:nvSpPr>
          <p:cNvPr id="2" name="TextBox 1">
            <a:extLst>
              <a:ext uri="{FF2B5EF4-FFF2-40B4-BE49-F238E27FC236}">
                <a16:creationId xmlns:a16="http://schemas.microsoft.com/office/drawing/2014/main" id="{7DB5630D-F881-BCEC-2B5F-A21894DECDF1}"/>
              </a:ext>
            </a:extLst>
          </p:cNvPr>
          <p:cNvSpPr txBox="1"/>
          <p:nvPr/>
        </p:nvSpPr>
        <p:spPr>
          <a:xfrm>
            <a:off x="349744" y="1225689"/>
            <a:ext cx="3663980" cy="5632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Between 1996 (the emergence of A(H5N1)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Gs</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GD lineage virus) and 2004, the viruses diversified to 10 clades (0-9) in the HA gene. </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The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GsGd</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lineage clades 2.2, 2.3.2, and 2.3.4.4 have been reported to cause global epidemics in both wild birds and poultry. </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From 2016 onwards, 2 virus clades persisted and diversified  into multiple subclades. </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The clade 2.3.4.4 H5 viruses that emerged in 2008 contained HA mutations, allowing reassortment with numerous NAs, creating multiple A(H5Nx) subtype viruse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Calibri"/>
            </a:endParaRPr>
          </a:p>
        </p:txBody>
      </p:sp>
      <p:pic>
        <p:nvPicPr>
          <p:cNvPr id="3" name="Picture 2" descr="A black background with red triangles&#10;&#10;Description automatically generated">
            <a:extLst>
              <a:ext uri="{FF2B5EF4-FFF2-40B4-BE49-F238E27FC236}">
                <a16:creationId xmlns:a16="http://schemas.microsoft.com/office/drawing/2014/main" id="{72CFA1F6-1361-DBD5-7D3E-CF90C97C0D3D}"/>
              </a:ext>
            </a:extLst>
          </p:cNvPr>
          <p:cNvPicPr>
            <a:picLocks noChangeAspect="1"/>
          </p:cNvPicPr>
          <p:nvPr/>
        </p:nvPicPr>
        <p:blipFill>
          <a:blip r:embed="rId4"/>
          <a:stretch>
            <a:fillRect/>
          </a:stretch>
        </p:blipFill>
        <p:spPr>
          <a:xfrm>
            <a:off x="3590881" y="108857"/>
            <a:ext cx="5004860" cy="6749143"/>
          </a:xfrm>
          <a:prstGeom prst="rect">
            <a:avLst/>
          </a:prstGeom>
          <a:ln>
            <a:noFill/>
          </a:ln>
        </p:spPr>
      </p:pic>
      <p:sp>
        <p:nvSpPr>
          <p:cNvPr id="4" name="TextBox 3">
            <a:extLst>
              <a:ext uri="{FF2B5EF4-FFF2-40B4-BE49-F238E27FC236}">
                <a16:creationId xmlns:a16="http://schemas.microsoft.com/office/drawing/2014/main" id="{FC25E5C2-EBDD-31FC-C55E-0B8232726081}"/>
              </a:ext>
            </a:extLst>
          </p:cNvPr>
          <p:cNvSpPr txBox="1"/>
          <p:nvPr/>
        </p:nvSpPr>
        <p:spPr>
          <a:xfrm>
            <a:off x="134257" y="324757"/>
            <a:ext cx="56134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205C"/>
                </a:solidFill>
                <a:effectLst/>
                <a:uLnTx/>
                <a:uFillTx/>
                <a:latin typeface="Calibri" panose="020F0502020204030204"/>
                <a:ea typeface="+mn-ea"/>
                <a:cs typeface="+mn-cs"/>
              </a:rPr>
              <a:t>Eurasian lineage A(H5) viruses</a:t>
            </a:r>
          </a:p>
        </p:txBody>
      </p:sp>
      <p:sp>
        <p:nvSpPr>
          <p:cNvPr id="6" name="TextBox 5">
            <a:extLst>
              <a:ext uri="{FF2B5EF4-FFF2-40B4-BE49-F238E27FC236}">
                <a16:creationId xmlns:a16="http://schemas.microsoft.com/office/drawing/2014/main" id="{3EA62AE6-B1E3-8D49-8A5C-79B0390AA327}"/>
              </a:ext>
            </a:extLst>
          </p:cNvPr>
          <p:cNvSpPr txBox="1"/>
          <p:nvPr/>
        </p:nvSpPr>
        <p:spPr>
          <a:xfrm>
            <a:off x="7975598" y="4470401"/>
            <a:ext cx="3995057"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HPAI H5 outbreak reports, subtypes and clad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Calibri"/>
              </a:rPr>
              <a:t>Above; clades, bottom; subtypes.</a:t>
            </a:r>
          </a:p>
        </p:txBody>
      </p:sp>
      <p:sp>
        <p:nvSpPr>
          <p:cNvPr id="7" name="TextBox 6">
            <a:extLst>
              <a:ext uri="{FF2B5EF4-FFF2-40B4-BE49-F238E27FC236}">
                <a16:creationId xmlns:a16="http://schemas.microsoft.com/office/drawing/2014/main" id="{3FB7CE45-4359-E031-EABE-FBDA976A39CE}"/>
              </a:ext>
            </a:extLst>
          </p:cNvPr>
          <p:cNvSpPr txBox="1"/>
          <p:nvPr/>
        </p:nvSpPr>
        <p:spPr>
          <a:xfrm>
            <a:off x="8020954" y="5041900"/>
            <a:ext cx="382130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a:ln>
                  <a:noFill/>
                </a:ln>
                <a:solidFill>
                  <a:srgbClr val="222222"/>
                </a:solidFill>
                <a:effectLst/>
                <a:uLnTx/>
                <a:uFillTx/>
                <a:latin typeface="-apple-system"/>
                <a:ea typeface="+mn-ea"/>
                <a:cs typeface="+mn-cs"/>
              </a:rPr>
              <a:t>Nature</a:t>
            </a:r>
            <a:r>
              <a:rPr kumimoji="0" lang="fr-FR" sz="1200" b="0" i="0" u="none" strike="noStrike" kern="1200" cap="none" spc="0" normalizeH="0" baseline="0" noProof="0">
                <a:ln>
                  <a:noFill/>
                </a:ln>
                <a:solidFill>
                  <a:srgbClr val="222222"/>
                </a:solidFill>
                <a:effectLst/>
                <a:uLnTx/>
                <a:uFillTx/>
                <a:latin typeface="-apple-system"/>
                <a:ea typeface="+mn-ea"/>
                <a:cs typeface="+mn-cs"/>
              </a:rPr>
              <a:t> </a:t>
            </a:r>
            <a:r>
              <a:rPr kumimoji="0" lang="fr-FR" sz="1200" b="1" i="0" u="none" strike="noStrike" kern="1200" cap="none" spc="0" normalizeH="0" baseline="0" noProof="0">
                <a:ln>
                  <a:noFill/>
                </a:ln>
                <a:solidFill>
                  <a:srgbClr val="222222"/>
                </a:solidFill>
                <a:effectLst/>
                <a:uLnTx/>
                <a:uFillTx/>
                <a:latin typeface="-apple-system"/>
                <a:ea typeface="+mn-ea"/>
                <a:cs typeface="+mn-cs"/>
              </a:rPr>
              <a:t>622</a:t>
            </a:r>
            <a:r>
              <a:rPr kumimoji="0" lang="fr-FR" sz="1200" b="0" i="0" u="none" strike="noStrike" kern="1200" cap="none" spc="0" normalizeH="0" baseline="0" noProof="0">
                <a:ln>
                  <a:noFill/>
                </a:ln>
                <a:solidFill>
                  <a:srgbClr val="222222"/>
                </a:solidFill>
                <a:effectLst/>
                <a:uLnTx/>
                <a:uFillTx/>
                <a:latin typeface="-apple-system"/>
                <a:ea typeface="+mn-ea"/>
                <a:cs typeface="+mn-cs"/>
              </a:rPr>
              <a:t>, 810–817 (2023). </a:t>
            </a:r>
            <a:r>
              <a:rPr kumimoji="0" lang="fr-FR" sz="1200" b="0" i="0" u="none" strike="noStrike" kern="1200" cap="none" spc="0" normalizeH="0" baseline="0" noProof="0">
                <a:ln>
                  <a:noFill/>
                </a:ln>
                <a:solidFill>
                  <a:srgbClr val="222222"/>
                </a:solidFill>
                <a:effectLst/>
                <a:uLnTx/>
                <a:uFillTx/>
                <a:latin typeface="-apple-system"/>
                <a:ea typeface="+mn-ea"/>
                <a:cs typeface="+mn-cs"/>
                <a:hlinkClick r:id="rId5"/>
              </a:rPr>
              <a:t>https://doi.org/10.1038/s41586-023-06631-2</a:t>
            </a:r>
            <a:r>
              <a:rPr kumimoji="0" lang="fr-FR" sz="1200" b="0" i="0" u="none" strike="noStrike" kern="1200" cap="none" spc="0" normalizeH="0" baseline="0" noProof="0">
                <a:ln>
                  <a:noFill/>
                </a:ln>
                <a:solidFill>
                  <a:srgbClr val="222222"/>
                </a:solidFill>
                <a:effectLst/>
                <a:uLnTx/>
                <a:uFillTx/>
                <a:latin typeface="-apple-system"/>
                <a:ea typeface="+mn-ea"/>
                <a:cs typeface="+mn-cs"/>
              </a:rPr>
              <a:t> </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1601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3C985-0107-2559-ECA0-E4E54A9403DA}"/>
              </a:ext>
            </a:extLst>
          </p:cNvPr>
          <p:cNvSpPr>
            <a:spLocks noGrp="1"/>
          </p:cNvSpPr>
          <p:nvPr>
            <p:ph type="title"/>
          </p:nvPr>
        </p:nvSpPr>
        <p:spPr>
          <a:xfrm>
            <a:off x="431800" y="564126"/>
            <a:ext cx="11139515" cy="1050061"/>
          </a:xfrm>
        </p:spPr>
        <p:txBody>
          <a:bodyPr>
            <a:normAutofit/>
          </a:bodyPr>
          <a:lstStyle/>
          <a:p>
            <a:r>
              <a:rPr lang="en-US" sz="3200" dirty="0">
                <a:solidFill>
                  <a:schemeClr val="tx2"/>
                </a:solidFill>
              </a:rPr>
              <a:t>Clade 2.3.4.4b viruses have consistently expanded since 2020</a:t>
            </a:r>
            <a:br>
              <a:rPr lang="en-US" sz="3200" dirty="0">
                <a:solidFill>
                  <a:schemeClr val="tx2"/>
                </a:solidFill>
              </a:rPr>
            </a:br>
            <a:endParaRPr lang="en-US" sz="3200" dirty="0">
              <a:solidFill>
                <a:schemeClr val="tx2"/>
              </a:solidFill>
            </a:endParaRPr>
          </a:p>
        </p:txBody>
      </p:sp>
      <p:pic>
        <p:nvPicPr>
          <p:cNvPr id="5" name="Picture 4" descr="A diagram of a diagram of a bear&#10;&#10;Description automatically generated with medium confidence">
            <a:extLst>
              <a:ext uri="{FF2B5EF4-FFF2-40B4-BE49-F238E27FC236}">
                <a16:creationId xmlns:a16="http://schemas.microsoft.com/office/drawing/2014/main" id="{0CA3258D-383B-6249-0DA8-9664DE999204}"/>
              </a:ext>
            </a:extLst>
          </p:cNvPr>
          <p:cNvPicPr>
            <a:picLocks noChangeAspect="1"/>
          </p:cNvPicPr>
          <p:nvPr/>
        </p:nvPicPr>
        <p:blipFill rotWithShape="1">
          <a:blip r:embed="rId3"/>
          <a:srcRect t="52798" b="23478"/>
          <a:stretch/>
        </p:blipFill>
        <p:spPr>
          <a:xfrm>
            <a:off x="9265786" y="4445977"/>
            <a:ext cx="2760605" cy="1352165"/>
          </a:xfrm>
          <a:prstGeom prst="rect">
            <a:avLst/>
          </a:prstGeom>
        </p:spPr>
      </p:pic>
      <p:pic>
        <p:nvPicPr>
          <p:cNvPr id="7" name="Picture 6" descr="A diagram of a variety of species&#10;&#10;Description automatically generated">
            <a:extLst>
              <a:ext uri="{FF2B5EF4-FFF2-40B4-BE49-F238E27FC236}">
                <a16:creationId xmlns:a16="http://schemas.microsoft.com/office/drawing/2014/main" id="{ACB73A95-AB50-2543-1973-209D4E424364}"/>
              </a:ext>
            </a:extLst>
          </p:cNvPr>
          <p:cNvPicPr>
            <a:picLocks noChangeAspect="1"/>
          </p:cNvPicPr>
          <p:nvPr/>
        </p:nvPicPr>
        <p:blipFill rotWithShape="1">
          <a:blip r:embed="rId4"/>
          <a:srcRect b="71843"/>
          <a:stretch/>
        </p:blipFill>
        <p:spPr>
          <a:xfrm>
            <a:off x="6796973" y="2949391"/>
            <a:ext cx="2300745" cy="1381361"/>
          </a:xfrm>
          <a:prstGeom prst="rect">
            <a:avLst/>
          </a:prstGeom>
        </p:spPr>
      </p:pic>
      <p:sp>
        <p:nvSpPr>
          <p:cNvPr id="8" name="TextBox 7">
            <a:extLst>
              <a:ext uri="{FF2B5EF4-FFF2-40B4-BE49-F238E27FC236}">
                <a16:creationId xmlns:a16="http://schemas.microsoft.com/office/drawing/2014/main" id="{2E3737A4-64BC-EAFD-9AA3-63F90C57F2ED}"/>
              </a:ext>
            </a:extLst>
          </p:cNvPr>
          <p:cNvSpPr txBox="1"/>
          <p:nvPr/>
        </p:nvSpPr>
        <p:spPr>
          <a:xfrm>
            <a:off x="7230609" y="2491669"/>
            <a:ext cx="1362871" cy="400110"/>
          </a:xfrm>
          <a:prstGeom prst="rect">
            <a:avLst/>
          </a:prstGeom>
          <a:solidFill>
            <a:srgbClr val="FF000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92D050"/>
                </a:solidFill>
                <a:effectLst/>
                <a:uLnTx/>
                <a:uFillTx/>
                <a:latin typeface="Calibri" panose="020F0502020204030204"/>
                <a:ea typeface="+mn-ea"/>
                <a:cs typeface="+mn-cs"/>
              </a:rPr>
              <a:t>2003-2019</a:t>
            </a:r>
          </a:p>
        </p:txBody>
      </p:sp>
      <p:sp>
        <p:nvSpPr>
          <p:cNvPr id="9" name="TextBox 8">
            <a:extLst>
              <a:ext uri="{FF2B5EF4-FFF2-40B4-BE49-F238E27FC236}">
                <a16:creationId xmlns:a16="http://schemas.microsoft.com/office/drawing/2014/main" id="{7249FE97-052F-9071-A132-AB496257F585}"/>
              </a:ext>
            </a:extLst>
          </p:cNvPr>
          <p:cNvSpPr txBox="1"/>
          <p:nvPr/>
        </p:nvSpPr>
        <p:spPr>
          <a:xfrm>
            <a:off x="9943277" y="2491669"/>
            <a:ext cx="1362871" cy="400110"/>
          </a:xfrm>
          <a:prstGeom prst="rect">
            <a:avLst/>
          </a:prstGeom>
          <a:solidFill>
            <a:srgbClr val="FF000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92D050"/>
                </a:solidFill>
                <a:effectLst/>
                <a:uLnTx/>
                <a:uFillTx/>
                <a:latin typeface="Calibri" panose="020F0502020204030204"/>
                <a:ea typeface="+mn-ea"/>
                <a:cs typeface="+mn-cs"/>
              </a:rPr>
              <a:t>2020-2023</a:t>
            </a:r>
            <a:endParaRPr kumimoji="0" lang="en-US" sz="1800" b="1" i="0" u="none" strike="noStrike" kern="1200" cap="none" spc="0" normalizeH="0" baseline="0" noProof="0">
              <a:ln>
                <a:noFill/>
              </a:ln>
              <a:solidFill>
                <a:srgbClr val="92D050"/>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C4471373-4D3A-00B9-10FF-1B3C507D917B}"/>
              </a:ext>
            </a:extLst>
          </p:cNvPr>
          <p:cNvSpPr txBox="1"/>
          <p:nvPr/>
        </p:nvSpPr>
        <p:spPr>
          <a:xfrm>
            <a:off x="6724463" y="5841200"/>
            <a:ext cx="2937003"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212121"/>
                </a:solidFill>
                <a:effectLst/>
                <a:uLnTx/>
                <a:uFillTx/>
                <a:latin typeface="BlinkMacSystemFont"/>
                <a:ea typeface="+mn-ea"/>
                <a:cs typeface="+mn-cs"/>
                <a:hlinkClick r:id="rId5"/>
              </a:rPr>
              <a:t>Emerg</a:t>
            </a:r>
            <a:r>
              <a:rPr kumimoji="0" lang="en-US" sz="1200" b="0" i="0" u="none" strike="noStrike" kern="1200" cap="none" spc="0" normalizeH="0" baseline="0" noProof="0">
                <a:ln>
                  <a:noFill/>
                </a:ln>
                <a:solidFill>
                  <a:srgbClr val="212121"/>
                </a:solidFill>
                <a:effectLst/>
                <a:uLnTx/>
                <a:uFillTx/>
                <a:latin typeface="BlinkMacSystemFont"/>
                <a:ea typeface="+mn-ea"/>
                <a:cs typeface="+mn-cs"/>
                <a:hlinkClick r:id="rId5"/>
              </a:rPr>
              <a:t> Infect Dis. 2024;30(3):444-452</a:t>
            </a:r>
            <a:r>
              <a:rPr kumimoji="0" lang="en-US" sz="1200" b="0" i="0" u="none" strike="noStrike" kern="1200" cap="none" spc="0" normalizeH="0" baseline="0" noProof="0">
                <a:ln>
                  <a:noFill/>
                </a:ln>
                <a:solidFill>
                  <a:srgbClr val="212121"/>
                </a:solidFill>
                <a:effectLst/>
                <a:uLnTx/>
                <a:uFillTx/>
                <a:latin typeface="BlinkMacSystemFont"/>
                <a:ea typeface="+mn-ea"/>
                <a:cs typeface="+mn-cs"/>
              </a:rPr>
              <a:t>.</a:t>
            </a: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4" name="Picture 3" descr="A diagram of a variety of species&#10;&#10;Description automatically generated">
            <a:extLst>
              <a:ext uri="{FF2B5EF4-FFF2-40B4-BE49-F238E27FC236}">
                <a16:creationId xmlns:a16="http://schemas.microsoft.com/office/drawing/2014/main" id="{8CACEC46-2011-893E-F26E-F2D7AF1BC09B}"/>
              </a:ext>
            </a:extLst>
          </p:cNvPr>
          <p:cNvPicPr>
            <a:picLocks noChangeAspect="1"/>
          </p:cNvPicPr>
          <p:nvPr/>
        </p:nvPicPr>
        <p:blipFill rotWithShape="1">
          <a:blip r:embed="rId4"/>
          <a:srcRect t="55228" b="16615"/>
          <a:stretch/>
        </p:blipFill>
        <p:spPr>
          <a:xfrm>
            <a:off x="6796972" y="4445977"/>
            <a:ext cx="2300745" cy="1381359"/>
          </a:xfrm>
          <a:prstGeom prst="rect">
            <a:avLst/>
          </a:prstGeom>
        </p:spPr>
      </p:pic>
      <p:pic>
        <p:nvPicPr>
          <p:cNvPr id="6" name="Picture 5" descr="A diagram of a diagram of a bear&#10;&#10;Description automatically generated with medium confidence">
            <a:extLst>
              <a:ext uri="{FF2B5EF4-FFF2-40B4-BE49-F238E27FC236}">
                <a16:creationId xmlns:a16="http://schemas.microsoft.com/office/drawing/2014/main" id="{44AFC9AB-F049-B8D0-76D7-3478F9F9D842}"/>
              </a:ext>
            </a:extLst>
          </p:cNvPr>
          <p:cNvPicPr>
            <a:picLocks noChangeAspect="1"/>
          </p:cNvPicPr>
          <p:nvPr/>
        </p:nvPicPr>
        <p:blipFill rotWithShape="1">
          <a:blip r:embed="rId3"/>
          <a:srcRect b="77708"/>
          <a:stretch/>
        </p:blipFill>
        <p:spPr>
          <a:xfrm>
            <a:off x="9253816" y="3008034"/>
            <a:ext cx="2760605" cy="1270553"/>
          </a:xfrm>
          <a:prstGeom prst="rect">
            <a:avLst/>
          </a:prstGeom>
        </p:spPr>
      </p:pic>
      <p:sp>
        <p:nvSpPr>
          <p:cNvPr id="14" name="TextBox 13">
            <a:extLst>
              <a:ext uri="{FF2B5EF4-FFF2-40B4-BE49-F238E27FC236}">
                <a16:creationId xmlns:a16="http://schemas.microsoft.com/office/drawing/2014/main" id="{89CD00C0-39ED-9210-2F75-1A05144D7557}"/>
              </a:ext>
            </a:extLst>
          </p:cNvPr>
          <p:cNvSpPr txBox="1"/>
          <p:nvPr/>
        </p:nvSpPr>
        <p:spPr>
          <a:xfrm>
            <a:off x="6935320" y="1336067"/>
            <a:ext cx="5079101" cy="923330"/>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panose="020F0502020204030204"/>
                <a:ea typeface="+mn-ea"/>
                <a:cs typeface="+mn-cs"/>
              </a:rPr>
              <a:t>More species, including wild birds and terrestrial and marine mammals have been infected with H5 viruses over the past few years.</a:t>
            </a:r>
          </a:p>
        </p:txBody>
      </p:sp>
      <p:sp>
        <p:nvSpPr>
          <p:cNvPr id="15" name="TextBox 14">
            <a:extLst>
              <a:ext uri="{FF2B5EF4-FFF2-40B4-BE49-F238E27FC236}">
                <a16:creationId xmlns:a16="http://schemas.microsoft.com/office/drawing/2014/main" id="{33254DFA-E800-2FB2-1B23-8B384B86C62D}"/>
              </a:ext>
            </a:extLst>
          </p:cNvPr>
          <p:cNvSpPr txBox="1"/>
          <p:nvPr/>
        </p:nvSpPr>
        <p:spPr>
          <a:xfrm>
            <a:off x="78490" y="5056369"/>
            <a:ext cx="6550413" cy="923330"/>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Since 2020, avian influenza viruses, notably, H5N1 2.3.4.4b viruses spread predominantly via migratory birds to many parts of Africa, Asia, Europe, North &amp; South America and Antarctica.</a:t>
            </a:r>
          </a:p>
        </p:txBody>
      </p:sp>
      <p:cxnSp>
        <p:nvCxnSpPr>
          <p:cNvPr id="17" name="Straight Arrow Connector 16">
            <a:extLst>
              <a:ext uri="{FF2B5EF4-FFF2-40B4-BE49-F238E27FC236}">
                <a16:creationId xmlns:a16="http://schemas.microsoft.com/office/drawing/2014/main" id="{8BDE5D9B-A913-F38F-B3A5-77F0A7F56602}"/>
              </a:ext>
            </a:extLst>
          </p:cNvPr>
          <p:cNvCxnSpPr/>
          <p:nvPr/>
        </p:nvCxnSpPr>
        <p:spPr>
          <a:xfrm>
            <a:off x="8762488" y="2691724"/>
            <a:ext cx="898978"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descr="A map of the world with different colored countries/regions&#10;&#10;Description automatically generated">
            <a:extLst>
              <a:ext uri="{FF2B5EF4-FFF2-40B4-BE49-F238E27FC236}">
                <a16:creationId xmlns:a16="http://schemas.microsoft.com/office/drawing/2014/main" id="{300D1035-8558-0D66-092A-DF5D4CE579A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676" y="1158646"/>
            <a:ext cx="6592704" cy="3963413"/>
          </a:xfrm>
          <a:prstGeom prst="rect">
            <a:avLst/>
          </a:prstGeom>
        </p:spPr>
      </p:pic>
      <p:sp>
        <p:nvSpPr>
          <p:cNvPr id="16" name="TextBox 15">
            <a:extLst>
              <a:ext uri="{FF2B5EF4-FFF2-40B4-BE49-F238E27FC236}">
                <a16:creationId xmlns:a16="http://schemas.microsoft.com/office/drawing/2014/main" id="{4E08DC3F-3D59-728E-B4C6-F7C989E9E9BF}"/>
              </a:ext>
            </a:extLst>
          </p:cNvPr>
          <p:cNvSpPr txBox="1"/>
          <p:nvPr/>
        </p:nvSpPr>
        <p:spPr>
          <a:xfrm>
            <a:off x="2308628" y="6362092"/>
            <a:ext cx="6093822" cy="43088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666666"/>
                </a:solidFill>
                <a:effectLst/>
                <a:uLnTx/>
                <a:uFillTx/>
                <a:latin typeface="Nexus Sans Pro"/>
                <a:ea typeface="+mn-ea"/>
                <a:cs typeface="+mn-cs"/>
              </a:rPr>
              <a:t>Fusaro</a:t>
            </a:r>
            <a:r>
              <a:rPr kumimoji="0" lang="en-US" sz="1100" b="0" i="0" u="none" strike="noStrike" kern="1200" cap="none" spc="0" normalizeH="0" baseline="0" noProof="0" dirty="0">
                <a:ln>
                  <a:noFill/>
                </a:ln>
                <a:solidFill>
                  <a:srgbClr val="666666"/>
                </a:solidFill>
                <a:effectLst/>
                <a:uLnTx/>
                <a:uFillTx/>
                <a:latin typeface="Nexus Sans Pro"/>
                <a:ea typeface="+mn-ea"/>
                <a:cs typeface="+mn-cs"/>
              </a:rPr>
              <a:t>, A. et al (2024). High pathogenic avian influenza A(H5) viruses of clade 2.3.4.4b in Europe - Why trends of virus evolution are more difficult to predict. </a:t>
            </a:r>
            <a:r>
              <a:rPr kumimoji="0" lang="en-US" sz="1100" b="0" i="1" u="none" strike="noStrike" kern="1200" cap="none" spc="0" normalizeH="0" baseline="0" noProof="0" dirty="0">
                <a:ln>
                  <a:noFill/>
                </a:ln>
                <a:solidFill>
                  <a:srgbClr val="666666"/>
                </a:solidFill>
                <a:effectLst/>
                <a:uLnTx/>
                <a:uFillTx/>
                <a:latin typeface="Nexus Sans Pro"/>
                <a:ea typeface="+mn-ea"/>
                <a:cs typeface="+mn-cs"/>
              </a:rPr>
              <a:t>Virus Evolution</a:t>
            </a:r>
            <a:r>
              <a:rPr kumimoji="0" lang="en-US" sz="1100" b="0" i="0" u="none" strike="noStrike" kern="1200" cap="none" spc="0" normalizeH="0" baseline="0" noProof="0" dirty="0">
                <a:ln>
                  <a:noFill/>
                </a:ln>
                <a:solidFill>
                  <a:srgbClr val="666666"/>
                </a:solidFill>
                <a:effectLst/>
                <a:uLnTx/>
                <a:uFillTx/>
                <a:latin typeface="Nexus Sans Pro"/>
                <a:ea typeface="+mn-ea"/>
                <a:cs typeface="+mn-cs"/>
              </a:rPr>
              <a:t>, </a:t>
            </a:r>
            <a:r>
              <a:rPr kumimoji="0" lang="en-US" sz="1100" b="0" i="1" u="none" strike="noStrike" kern="1200" cap="none" spc="0" normalizeH="0" baseline="0" noProof="0" dirty="0">
                <a:ln>
                  <a:noFill/>
                </a:ln>
                <a:solidFill>
                  <a:srgbClr val="666666"/>
                </a:solidFill>
                <a:effectLst/>
                <a:uLnTx/>
                <a:uFillTx/>
                <a:latin typeface="Nexus Sans Pro"/>
                <a:ea typeface="+mn-ea"/>
                <a:cs typeface="+mn-cs"/>
              </a:rPr>
              <a:t>10</a:t>
            </a:r>
            <a:r>
              <a:rPr kumimoji="0" lang="en-US" sz="1100" b="0" i="0" u="none" strike="noStrike" kern="1200" cap="none" spc="0" normalizeH="0" baseline="0" noProof="0" dirty="0">
                <a:ln>
                  <a:noFill/>
                </a:ln>
                <a:solidFill>
                  <a:srgbClr val="666666"/>
                </a:solidFill>
                <a:effectLst/>
                <a:uLnTx/>
                <a:uFillTx/>
                <a:latin typeface="Nexus Sans Pro"/>
                <a:ea typeface="+mn-ea"/>
                <a:cs typeface="+mn-cs"/>
              </a:rPr>
              <a:t>(1).</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152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8CC19-DCF0-4D1B-3F75-F33F3A0860C7}"/>
              </a:ext>
            </a:extLst>
          </p:cNvPr>
          <p:cNvSpPr>
            <a:spLocks noGrp="1"/>
          </p:cNvSpPr>
          <p:nvPr>
            <p:ph type="title"/>
          </p:nvPr>
        </p:nvSpPr>
        <p:spPr>
          <a:xfrm>
            <a:off x="445654" y="646807"/>
            <a:ext cx="10721139" cy="864117"/>
          </a:xfrm>
        </p:spPr>
        <p:txBody>
          <a:bodyPr>
            <a:normAutofit/>
          </a:bodyPr>
          <a:lstStyle>
            <a:defPPr>
              <a:defRPr lang="en-US"/>
            </a:defPPr>
            <a:lvl1pPr marL="0" algn="l" defTabSz="337414" rtl="0" eaLnBrk="1" latinLnBrk="0" hangingPunct="1">
              <a:defRPr sz="1328" kern="1200">
                <a:solidFill>
                  <a:schemeClr val="tx1"/>
                </a:solidFill>
                <a:latin typeface="+mn-lt"/>
                <a:ea typeface="+mn-ea"/>
                <a:cs typeface="+mn-cs"/>
              </a:defRPr>
            </a:lvl1pPr>
            <a:lvl2pPr marL="337414" algn="l" defTabSz="337414" rtl="0" eaLnBrk="1" latinLnBrk="0" hangingPunct="1">
              <a:defRPr sz="1328" kern="1200">
                <a:solidFill>
                  <a:schemeClr val="tx1"/>
                </a:solidFill>
                <a:latin typeface="+mn-lt"/>
                <a:ea typeface="+mn-ea"/>
                <a:cs typeface="+mn-cs"/>
              </a:defRPr>
            </a:lvl2pPr>
            <a:lvl3pPr marL="674827" algn="l" defTabSz="337414" rtl="0" eaLnBrk="1" latinLnBrk="0" hangingPunct="1">
              <a:defRPr sz="1328" kern="1200">
                <a:solidFill>
                  <a:schemeClr val="tx1"/>
                </a:solidFill>
                <a:latin typeface="+mn-lt"/>
                <a:ea typeface="+mn-ea"/>
                <a:cs typeface="+mn-cs"/>
              </a:defRPr>
            </a:lvl3pPr>
            <a:lvl4pPr marL="1012241" algn="l" defTabSz="337414" rtl="0" eaLnBrk="1" latinLnBrk="0" hangingPunct="1">
              <a:defRPr sz="1328" kern="1200">
                <a:solidFill>
                  <a:schemeClr val="tx1"/>
                </a:solidFill>
                <a:latin typeface="+mn-lt"/>
                <a:ea typeface="+mn-ea"/>
                <a:cs typeface="+mn-cs"/>
              </a:defRPr>
            </a:lvl4pPr>
            <a:lvl5pPr marL="1349654" algn="l" defTabSz="337414" rtl="0" eaLnBrk="1" latinLnBrk="0" hangingPunct="1">
              <a:defRPr sz="1328" kern="1200">
                <a:solidFill>
                  <a:schemeClr val="tx1"/>
                </a:solidFill>
                <a:latin typeface="+mn-lt"/>
                <a:ea typeface="+mn-ea"/>
                <a:cs typeface="+mn-cs"/>
              </a:defRPr>
            </a:lvl5pPr>
            <a:lvl6pPr marL="1687068" algn="l" defTabSz="337414" rtl="0" eaLnBrk="1" latinLnBrk="0" hangingPunct="1">
              <a:defRPr sz="1328" kern="1200">
                <a:solidFill>
                  <a:schemeClr val="tx1"/>
                </a:solidFill>
                <a:latin typeface="+mn-lt"/>
                <a:ea typeface="+mn-ea"/>
                <a:cs typeface="+mn-cs"/>
              </a:defRPr>
            </a:lvl6pPr>
            <a:lvl7pPr marL="2024482" algn="l" defTabSz="337414" rtl="0" eaLnBrk="1" latinLnBrk="0" hangingPunct="1">
              <a:defRPr sz="1328" kern="1200">
                <a:solidFill>
                  <a:schemeClr val="tx1"/>
                </a:solidFill>
                <a:latin typeface="+mn-lt"/>
                <a:ea typeface="+mn-ea"/>
                <a:cs typeface="+mn-cs"/>
              </a:defRPr>
            </a:lvl7pPr>
            <a:lvl8pPr marL="2361895" algn="l" defTabSz="337414" rtl="0" eaLnBrk="1" latinLnBrk="0" hangingPunct="1">
              <a:defRPr sz="1328" kern="1200">
                <a:solidFill>
                  <a:schemeClr val="tx1"/>
                </a:solidFill>
                <a:latin typeface="+mn-lt"/>
                <a:ea typeface="+mn-ea"/>
                <a:cs typeface="+mn-cs"/>
              </a:defRPr>
            </a:lvl8pPr>
            <a:lvl9pPr marL="2699309" algn="l" defTabSz="337414" rtl="0" eaLnBrk="1" latinLnBrk="0" hangingPunct="1">
              <a:defRPr sz="1328" kern="1200">
                <a:solidFill>
                  <a:schemeClr val="tx1"/>
                </a:solidFill>
                <a:latin typeface="+mn-lt"/>
                <a:ea typeface="+mn-ea"/>
                <a:cs typeface="+mn-cs"/>
              </a:defRPr>
            </a:lvl9pPr>
          </a:lstStyle>
          <a:p>
            <a:r>
              <a:rPr lang="en-US" sz="3200" dirty="0">
                <a:solidFill>
                  <a:schemeClr val="tx2"/>
                </a:solidFill>
                <a:latin typeface="Calibri"/>
                <a:cs typeface="Calibri"/>
              </a:rPr>
              <a:t>Ongoing FAO-WHO-WOAH avian influenza risk assessments</a:t>
            </a:r>
            <a:endParaRPr lang="en-US" sz="1400" dirty="0">
              <a:solidFill>
                <a:schemeClr val="tx2"/>
              </a:solidFill>
            </a:endParaRPr>
          </a:p>
        </p:txBody>
      </p:sp>
      <p:sp>
        <p:nvSpPr>
          <p:cNvPr id="5" name="TextBox 4">
            <a:extLst>
              <a:ext uri="{FF2B5EF4-FFF2-40B4-BE49-F238E27FC236}">
                <a16:creationId xmlns:a16="http://schemas.microsoft.com/office/drawing/2014/main" id="{9B1E2698-50E3-9C5D-A266-7988925B3F30}"/>
              </a:ext>
            </a:extLst>
          </p:cNvPr>
          <p:cNvSpPr txBox="1"/>
          <p:nvPr/>
        </p:nvSpPr>
        <p:spPr>
          <a:xfrm>
            <a:off x="256595" y="1674987"/>
            <a:ext cx="6859100" cy="3982209"/>
          </a:xfrm>
          <a:prstGeom prst="rect">
            <a:avLst/>
          </a:prstGeom>
          <a:noFill/>
        </p:spPr>
        <p:txBody>
          <a:bodyPr wrap="square" lIns="72734" tIns="36368" rIns="72734" bIns="36368" anchor="t">
            <a:spAutoFit/>
          </a:bodyPr>
          <a:lstStyle>
            <a:defPPr>
              <a:defRPr lang="en-US"/>
            </a:defPPr>
            <a:lvl1pPr marL="0" algn="l" defTabSz="337414" rtl="0" eaLnBrk="1" latinLnBrk="0" hangingPunct="1">
              <a:defRPr sz="1328" kern="1200">
                <a:solidFill>
                  <a:schemeClr val="tx1"/>
                </a:solidFill>
                <a:latin typeface="+mn-lt"/>
                <a:ea typeface="+mn-ea"/>
                <a:cs typeface="+mn-cs"/>
              </a:defRPr>
            </a:lvl1pPr>
            <a:lvl2pPr marL="337414" algn="l" defTabSz="337414" rtl="0" eaLnBrk="1" latinLnBrk="0" hangingPunct="1">
              <a:defRPr sz="1328" kern="1200">
                <a:solidFill>
                  <a:schemeClr val="tx1"/>
                </a:solidFill>
                <a:latin typeface="+mn-lt"/>
                <a:ea typeface="+mn-ea"/>
                <a:cs typeface="+mn-cs"/>
              </a:defRPr>
            </a:lvl2pPr>
            <a:lvl3pPr marL="674827" algn="l" defTabSz="337414" rtl="0" eaLnBrk="1" latinLnBrk="0" hangingPunct="1">
              <a:defRPr sz="1328" kern="1200">
                <a:solidFill>
                  <a:schemeClr val="tx1"/>
                </a:solidFill>
                <a:latin typeface="+mn-lt"/>
                <a:ea typeface="+mn-ea"/>
                <a:cs typeface="+mn-cs"/>
              </a:defRPr>
            </a:lvl3pPr>
            <a:lvl4pPr marL="1012241" algn="l" defTabSz="337414" rtl="0" eaLnBrk="1" latinLnBrk="0" hangingPunct="1">
              <a:defRPr sz="1328" kern="1200">
                <a:solidFill>
                  <a:schemeClr val="tx1"/>
                </a:solidFill>
                <a:latin typeface="+mn-lt"/>
                <a:ea typeface="+mn-ea"/>
                <a:cs typeface="+mn-cs"/>
              </a:defRPr>
            </a:lvl4pPr>
            <a:lvl5pPr marL="1349654" algn="l" defTabSz="337414" rtl="0" eaLnBrk="1" latinLnBrk="0" hangingPunct="1">
              <a:defRPr sz="1328" kern="1200">
                <a:solidFill>
                  <a:schemeClr val="tx1"/>
                </a:solidFill>
                <a:latin typeface="+mn-lt"/>
                <a:ea typeface="+mn-ea"/>
                <a:cs typeface="+mn-cs"/>
              </a:defRPr>
            </a:lvl5pPr>
            <a:lvl6pPr marL="1687068" algn="l" defTabSz="337414" rtl="0" eaLnBrk="1" latinLnBrk="0" hangingPunct="1">
              <a:defRPr sz="1328" kern="1200">
                <a:solidFill>
                  <a:schemeClr val="tx1"/>
                </a:solidFill>
                <a:latin typeface="+mn-lt"/>
                <a:ea typeface="+mn-ea"/>
                <a:cs typeface="+mn-cs"/>
              </a:defRPr>
            </a:lvl6pPr>
            <a:lvl7pPr marL="2024482" algn="l" defTabSz="337414" rtl="0" eaLnBrk="1" latinLnBrk="0" hangingPunct="1">
              <a:defRPr sz="1328" kern="1200">
                <a:solidFill>
                  <a:schemeClr val="tx1"/>
                </a:solidFill>
                <a:latin typeface="+mn-lt"/>
                <a:ea typeface="+mn-ea"/>
                <a:cs typeface="+mn-cs"/>
              </a:defRPr>
            </a:lvl7pPr>
            <a:lvl8pPr marL="2361895" algn="l" defTabSz="337414" rtl="0" eaLnBrk="1" latinLnBrk="0" hangingPunct="1">
              <a:defRPr sz="1328" kern="1200">
                <a:solidFill>
                  <a:schemeClr val="tx1"/>
                </a:solidFill>
                <a:latin typeface="+mn-lt"/>
                <a:ea typeface="+mn-ea"/>
                <a:cs typeface="+mn-cs"/>
              </a:defRPr>
            </a:lvl8pPr>
            <a:lvl9pPr marL="2699309" algn="l" defTabSz="337414" rtl="0" eaLnBrk="1" latinLnBrk="0" hangingPunct="1">
              <a:defRPr sz="1328" kern="1200">
                <a:solidFill>
                  <a:schemeClr val="tx1"/>
                </a:solidFill>
                <a:latin typeface="+mn-lt"/>
                <a:ea typeface="+mn-ea"/>
                <a:cs typeface="+mn-cs"/>
              </a:defRPr>
            </a:lvl9pPr>
          </a:lstStyle>
          <a:p>
            <a:pPr marL="590550" marR="0" lvl="1" indent="-226695" algn="l" defTabSz="72731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A1A1A"/>
                </a:solidFill>
                <a:effectLst/>
                <a:uLnTx/>
                <a:uFillTx/>
                <a:latin typeface="Calibri" panose="020F0502020204030204"/>
                <a:ea typeface="+mn-ea"/>
                <a:cs typeface="+mn-cs"/>
              </a:rPr>
              <a:t>At the present time, based on available information, FAO-WHO-WOAH assess the global public health risk of influenza A(H5N1) viruses to be </a:t>
            </a:r>
            <a:r>
              <a:rPr kumimoji="0" lang="en-US" sz="1800" b="1" i="0" u="none" strike="noStrike" kern="1200" cap="none" spc="0" normalizeH="0" baseline="0" noProof="0" dirty="0">
                <a:ln>
                  <a:noFill/>
                </a:ln>
                <a:solidFill>
                  <a:srgbClr val="1A1A1A"/>
                </a:solidFill>
                <a:effectLst/>
                <a:uLnTx/>
                <a:uFillTx/>
                <a:latin typeface="Calibri" panose="020F0502020204030204"/>
                <a:ea typeface="+mn-ea"/>
                <a:cs typeface="+mn-cs"/>
              </a:rPr>
              <a:t>low</a:t>
            </a:r>
            <a:r>
              <a:rPr kumimoji="0" lang="en-US" sz="1800" b="0" i="0" u="none" strike="noStrike" kern="1200" cap="none" spc="0" normalizeH="0" baseline="0" noProof="0" dirty="0">
                <a:ln>
                  <a:noFill/>
                </a:ln>
                <a:solidFill>
                  <a:srgbClr val="1A1A1A"/>
                </a:solidFill>
                <a:effectLst/>
                <a:uLnTx/>
                <a:uFillTx/>
                <a:latin typeface="Calibri" panose="020F0502020204030204"/>
                <a:ea typeface="+mn-ea"/>
                <a:cs typeface="+mn-cs"/>
              </a:rPr>
              <a:t>, while the risk of infection for occupationally exposed persons is </a:t>
            </a:r>
            <a:r>
              <a:rPr kumimoji="0" lang="en-US" sz="1800" b="1" i="0" u="none" strike="noStrike" kern="1200" cap="none" spc="0" normalizeH="0" baseline="0" noProof="0" dirty="0">
                <a:ln>
                  <a:noFill/>
                </a:ln>
                <a:solidFill>
                  <a:srgbClr val="1A1A1A"/>
                </a:solidFill>
                <a:effectLst/>
                <a:uLnTx/>
                <a:uFillTx/>
                <a:latin typeface="Calibri" panose="020F0502020204030204"/>
                <a:ea typeface="+mn-ea"/>
                <a:cs typeface="+mn-cs"/>
              </a:rPr>
              <a:t>low to moderate </a:t>
            </a:r>
            <a:r>
              <a:rPr kumimoji="0" lang="en-US" sz="1800" b="0" i="0" u="none" strike="noStrike" kern="1200" cap="none" spc="0" normalizeH="0" baseline="0" noProof="0" dirty="0">
                <a:ln>
                  <a:noFill/>
                </a:ln>
                <a:solidFill>
                  <a:srgbClr val="1A1A1A"/>
                </a:solidFill>
                <a:effectLst/>
                <a:uLnTx/>
                <a:uFillTx/>
                <a:latin typeface="Calibri" panose="020F0502020204030204"/>
                <a:ea typeface="+mn-ea"/>
                <a:cs typeface="+mn-cs"/>
              </a:rPr>
              <a:t>depending on the risk mitigation measures in place. Transmission between animals continues to occur and, to date, a limited number of human infections have been reported. Additional human infections associated with exposure to infected animals or contaminated environments are likely to continue to occur.</a:t>
            </a:r>
          </a:p>
          <a:p>
            <a:pPr marL="590550" marR="0" lvl="1" indent="-226695" algn="l" defTabSz="72731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141414"/>
                </a:solidFill>
                <a:effectLst/>
                <a:uLnTx/>
                <a:uFillTx/>
                <a:latin typeface="Calibri" panose="020F0502020204030204"/>
                <a:ea typeface="+mn-ea"/>
                <a:cs typeface="+mn-cs"/>
              </a:rPr>
              <a:t>This risk is reliant on strong surveillance, timely detection and sharing of information, sequences and viruses.</a:t>
            </a:r>
            <a:endPar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a:endParaRPr>
          </a:p>
          <a:p>
            <a:pPr marL="226695" marR="0" lvl="0" indent="-226695" algn="l" defTabSz="72731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41414"/>
              </a:solidFill>
              <a:effectLst/>
              <a:uLnTx/>
              <a:uFillTx/>
              <a:latin typeface="Calibri" panose="020F0502020204030204"/>
              <a:ea typeface="+mn-ea"/>
              <a:cs typeface="Calibri" panose="020F0502020204030204"/>
            </a:endParaRPr>
          </a:p>
          <a:p>
            <a:pPr marL="226695" marR="0" lvl="0" indent="-226695" algn="l" defTabSz="72731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41414"/>
              </a:solidFill>
              <a:effectLst/>
              <a:uLnTx/>
              <a:uFillTx/>
              <a:latin typeface="Calibri" panose="020F0502020204030204"/>
              <a:ea typeface="+mn-ea"/>
              <a:cs typeface="Calibri" panose="020F0502020204030204"/>
            </a:endParaRPr>
          </a:p>
        </p:txBody>
      </p:sp>
      <p:sp>
        <p:nvSpPr>
          <p:cNvPr id="3" name="TextBox 2">
            <a:extLst>
              <a:ext uri="{FF2B5EF4-FFF2-40B4-BE49-F238E27FC236}">
                <a16:creationId xmlns:a16="http://schemas.microsoft.com/office/drawing/2014/main" id="{844BAFEA-6A77-B916-8857-7F5944DF1623}"/>
              </a:ext>
            </a:extLst>
          </p:cNvPr>
          <p:cNvSpPr txBox="1"/>
          <p:nvPr/>
        </p:nvSpPr>
        <p:spPr>
          <a:xfrm>
            <a:off x="3048930" y="6246972"/>
            <a:ext cx="6094140"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C4245"/>
                </a:solidFill>
                <a:effectLst/>
                <a:uLnTx/>
                <a:uFillTx/>
                <a:latin typeface="Calibri" panose="020F0502020204030204"/>
                <a:ea typeface="+mn-ea"/>
                <a:cs typeface="+mn-cs"/>
                <a:hlinkClick r:id="rId3"/>
              </a:rPr>
              <a:t>Updated joint FAO/WHO/WOAH assessment of recent influenza A(H5N1) virus events in animals and people</a:t>
            </a:r>
            <a:endParaRPr kumimoji="0" lang="en-US" sz="1000" b="0" i="0" u="none" strike="noStrike" kern="1200" cap="none" spc="0" normalizeH="0" baseline="0" noProof="0" dirty="0">
              <a:ln>
                <a:noFill/>
              </a:ln>
              <a:solidFill>
                <a:srgbClr val="3C4245"/>
              </a:solidFill>
              <a:effectLst/>
              <a:uLnTx/>
              <a:uFillTx/>
              <a:latin typeface="Calibri" panose="020F0502020204030204"/>
              <a:ea typeface="+mn-ea"/>
              <a:cs typeface="+mn-cs"/>
            </a:endParaRPr>
          </a:p>
        </p:txBody>
      </p:sp>
      <p:pic>
        <p:nvPicPr>
          <p:cNvPr id="7" name="Picture 6" descr="A document with text and words&#10;&#10;Description automatically generated">
            <a:extLst>
              <a:ext uri="{FF2B5EF4-FFF2-40B4-BE49-F238E27FC236}">
                <a16:creationId xmlns:a16="http://schemas.microsoft.com/office/drawing/2014/main" id="{D3955110-1597-DCAE-7340-8703E86CD321}"/>
              </a:ext>
            </a:extLst>
          </p:cNvPr>
          <p:cNvPicPr>
            <a:picLocks noChangeAspect="1"/>
          </p:cNvPicPr>
          <p:nvPr/>
        </p:nvPicPr>
        <p:blipFill>
          <a:blip r:embed="rId4"/>
          <a:stretch>
            <a:fillRect/>
          </a:stretch>
        </p:blipFill>
        <p:spPr>
          <a:xfrm>
            <a:off x="7642051" y="1078865"/>
            <a:ext cx="3524742" cy="4982270"/>
          </a:xfrm>
          <a:prstGeom prst="rect">
            <a:avLst/>
          </a:prstGeom>
          <a:ln>
            <a:solidFill>
              <a:schemeClr val="tx1"/>
            </a:solidFill>
          </a:ln>
        </p:spPr>
      </p:pic>
    </p:spTree>
    <p:extLst>
      <p:ext uri="{BB962C8B-B14F-4D97-AF65-F5344CB8AC3E}">
        <p14:creationId xmlns:p14="http://schemas.microsoft.com/office/powerpoint/2010/main" val="2417840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50358-993A-37EA-5F7C-52C6BE40A360}"/>
              </a:ext>
            </a:extLst>
          </p:cNvPr>
          <p:cNvSpPr>
            <a:spLocks noGrp="1"/>
          </p:cNvSpPr>
          <p:nvPr>
            <p:ph type="title"/>
          </p:nvPr>
        </p:nvSpPr>
        <p:spPr/>
        <p:txBody>
          <a:bodyPr/>
          <a:lstStyle/>
          <a:p>
            <a:r>
              <a:rPr lang="en-US" dirty="0"/>
              <a:t>Risk assessment: Tool for Influenza Pandemic Risk Assessment</a:t>
            </a:r>
            <a:endParaRPr lang="en-GB" dirty="0"/>
          </a:p>
        </p:txBody>
      </p:sp>
      <p:sp>
        <p:nvSpPr>
          <p:cNvPr id="3" name="Footer Placeholder 2">
            <a:extLst>
              <a:ext uri="{FF2B5EF4-FFF2-40B4-BE49-F238E27FC236}">
                <a16:creationId xmlns:a16="http://schemas.microsoft.com/office/drawing/2014/main" id="{A3F39598-536A-7866-4919-ED864740B85C}"/>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A25FBFA4-97CD-9AFF-35D4-139FE9A9699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14BF2E0-EE3B-6A4E-9FB9-82DE86E1F02F}" type="slidenum">
              <a:rPr kumimoji="0" lang="en-US" sz="900" b="0" i="0" u="none" strike="noStrike" kern="1200" cap="none" spc="0" normalizeH="0" baseline="0" noProof="0" smtClean="0">
                <a:ln>
                  <a:noFill/>
                </a:ln>
                <a:solidFill>
                  <a:srgbClr val="00205C"/>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pic>
        <p:nvPicPr>
          <p:cNvPr id="5" name="Picture 4" descr="A picture containing text, antenna&#10;&#10;Description automatically generated">
            <a:extLst>
              <a:ext uri="{FF2B5EF4-FFF2-40B4-BE49-F238E27FC236}">
                <a16:creationId xmlns:a16="http://schemas.microsoft.com/office/drawing/2014/main" id="{77D0CD8B-992A-DB30-83BB-B31A7DF71A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3756" y="1258500"/>
            <a:ext cx="6351463" cy="4341000"/>
          </a:xfrm>
          <a:prstGeom prst="rect">
            <a:avLst/>
          </a:prstGeom>
          <a:ln>
            <a:solidFill>
              <a:schemeClr val="tx1"/>
            </a:solidFill>
          </a:ln>
        </p:spPr>
      </p:pic>
      <p:sp>
        <p:nvSpPr>
          <p:cNvPr id="6" name="Content Placeholder 2">
            <a:extLst>
              <a:ext uri="{FF2B5EF4-FFF2-40B4-BE49-F238E27FC236}">
                <a16:creationId xmlns:a16="http://schemas.microsoft.com/office/drawing/2014/main" id="{D350B1C0-E221-0631-E233-6A4730099D8B}"/>
              </a:ext>
            </a:extLst>
          </p:cNvPr>
          <p:cNvSpPr txBox="1">
            <a:spLocks/>
          </p:cNvSpPr>
          <p:nvPr/>
        </p:nvSpPr>
        <p:spPr>
          <a:xfrm>
            <a:off x="457200" y="1446483"/>
            <a:ext cx="5499067" cy="4341000"/>
          </a:xfrm>
          <a:prstGeom prst="rect">
            <a:avLst/>
          </a:prstGeom>
        </p:spPr>
        <p:txBody>
          <a:bodyPr>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91440" marR="0" lvl="0" indent="-91440" algn="l" defTabSz="914400" rtl="0" eaLnBrk="1" fontAlgn="auto" latinLnBrk="0" hangingPunct="1">
              <a:lnSpc>
                <a:spcPct val="85000"/>
              </a:lnSpc>
              <a:spcBef>
                <a:spcPts val="13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TIPRA focuses on the HAZARD component: influenza </a:t>
            </a:r>
            <a:r>
              <a:rPr kumimoji="0" lang="en-GB" sz="1800" b="0" i="1" u="none" strike="noStrike" kern="1200" cap="none" spc="0" normalizeH="0" baseline="0" noProof="0" dirty="0">
                <a:ln>
                  <a:noFill/>
                </a:ln>
                <a:solidFill>
                  <a:srgbClr val="000000"/>
                </a:solidFill>
                <a:effectLst/>
                <a:uLnTx/>
                <a:uFillTx/>
                <a:latin typeface="Calibri" panose="020F0502020204030204"/>
                <a:ea typeface="+mn-ea"/>
                <a:cs typeface="+mn-cs"/>
              </a:rPr>
              <a:t>viruses</a:t>
            </a: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 with pandemic potential</a:t>
            </a:r>
            <a:endParaRPr kumimoji="0" lang="en-US" sz="18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a:p>
            <a:pPr marL="91440" marR="0" lvl="0" indent="-91440" algn="l" defTabSz="914400" rtl="0" eaLnBrk="1" fontAlgn="auto" latinLnBrk="0" hangingPunct="1">
              <a:lnSpc>
                <a:spcPct val="85000"/>
              </a:lnSpc>
              <a:spcBef>
                <a:spcPts val="13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An interdisciplinary One Health approach for close monitoring and assessment of virus dynamics in human and non-human populations</a:t>
            </a:r>
          </a:p>
          <a:p>
            <a:pPr marL="91440" marR="0" lvl="0" indent="-91440" algn="l" defTabSz="914400" rtl="0" eaLnBrk="1" fontAlgn="auto" latinLnBrk="0" hangingPunct="1">
              <a:lnSpc>
                <a:spcPct val="85000"/>
              </a:lnSpc>
              <a:spcBef>
                <a:spcPts val="13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Supports </a:t>
            </a:r>
            <a:r>
              <a:rPr kumimoji="0" lang="en-US" sz="1800" b="0" i="1"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preparedness</a:t>
            </a:r>
            <a:r>
              <a:rPr kumimoji="0" lang="en-US" sz="18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 for potential influenza pandemics. </a:t>
            </a:r>
          </a:p>
          <a:p>
            <a:pPr marL="91440" marR="0" lvl="0" indent="-91440" algn="l" defTabSz="914400" rtl="0" eaLnBrk="1" fontAlgn="auto" latinLnBrk="0" hangingPunct="1">
              <a:lnSpc>
                <a:spcPct val="85000"/>
              </a:lnSpc>
              <a:spcBef>
                <a:spcPts val="13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Guides the provision/generation of candidate vaccine viruses</a:t>
            </a:r>
          </a:p>
          <a:p>
            <a:pPr marL="91440" marR="0" lvl="0" indent="-91440" algn="l" defTabSz="914400" rtl="0" eaLnBrk="1" fontAlgn="auto" latinLnBrk="0" hangingPunct="1">
              <a:lnSpc>
                <a:spcPct val="85000"/>
              </a:lnSpc>
              <a:spcBef>
                <a:spcPts val="13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Aids countries in prioritizing their selection of pre-pandemic vaccine virus candidates for the potential to produce stockpiles of vaccines in the event of a future pandemic</a:t>
            </a:r>
          </a:p>
          <a:p>
            <a:pPr marL="91440" marR="0" lvl="0" indent="-91440" algn="l" defTabSz="914400" rtl="0" eaLnBrk="1" fontAlgn="auto" latinLnBrk="0" hangingPunct="1">
              <a:lnSpc>
                <a:spcPct val="85000"/>
              </a:lnSpc>
              <a:spcBef>
                <a:spcPts val="1300"/>
              </a:spcBef>
              <a:spcAft>
                <a:spcPts val="0"/>
              </a:spcAft>
              <a:buClrTx/>
              <a:buSzTx/>
              <a:buFont typeface="Arial" pitchFamily="34" charset="0"/>
              <a:buChar char=" "/>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a:p>
            <a:pPr marL="91440" marR="0" lvl="0" indent="-91440" algn="l" defTabSz="914400" rtl="0" eaLnBrk="1" fontAlgn="auto" latinLnBrk="0" hangingPunct="1">
              <a:lnSpc>
                <a:spcPct val="85000"/>
              </a:lnSpc>
              <a:spcBef>
                <a:spcPts val="1300"/>
              </a:spcBef>
              <a:spcAft>
                <a:spcPts val="0"/>
              </a:spcAft>
              <a:buClrTx/>
              <a:buSzTx/>
              <a:buFont typeface="Arial" pitchFamily="34" charset="0"/>
              <a:buChar char=" "/>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7" name="TextBox 6">
            <a:extLst>
              <a:ext uri="{FF2B5EF4-FFF2-40B4-BE49-F238E27FC236}">
                <a16:creationId xmlns:a16="http://schemas.microsoft.com/office/drawing/2014/main" id="{EDB6DD83-FD28-0138-3A55-ABE356C27A2D}"/>
              </a:ext>
            </a:extLst>
          </p:cNvPr>
          <p:cNvSpPr txBox="1"/>
          <p:nvPr/>
        </p:nvSpPr>
        <p:spPr>
          <a:xfrm>
            <a:off x="5967878" y="5787483"/>
            <a:ext cx="9078050"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hlinkClick r:id="rId4"/>
              </a:rPr>
              <a:t>https://www.who.int/publications/i/item/tool-for-influenza-pandemic-risk-assessment-(tipra)-2nd-edition</a:t>
            </a: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76451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3F68FB-815F-305F-7AEA-FF6A17525F5F}"/>
              </a:ext>
            </a:extLst>
          </p:cNvPr>
          <p:cNvSpPr>
            <a:spLocks noGrp="1"/>
          </p:cNvSpPr>
          <p:nvPr>
            <p:ph type="title"/>
          </p:nvPr>
        </p:nvSpPr>
        <p:spPr/>
        <p:txBody>
          <a:bodyPr/>
          <a:lstStyle/>
          <a:p>
            <a:r>
              <a:rPr lang="en-US" dirty="0"/>
              <a:t>Candidate vaccine virus development for pandemic preparedness</a:t>
            </a:r>
            <a:endParaRPr lang="en-GB" dirty="0"/>
          </a:p>
        </p:txBody>
      </p:sp>
      <p:sp>
        <p:nvSpPr>
          <p:cNvPr id="3" name="Footer Placeholder 2">
            <a:extLst>
              <a:ext uri="{FF2B5EF4-FFF2-40B4-BE49-F238E27FC236}">
                <a16:creationId xmlns:a16="http://schemas.microsoft.com/office/drawing/2014/main" id="{D76A3BA8-1EAA-8753-6621-4FAB8965D361}"/>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2BE518F0-967C-4158-DAD9-A67D15C82E4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14BF2E0-EE3B-6A4E-9FB9-82DE86E1F02F}" type="slidenum">
              <a:rPr kumimoji="0" lang="en-US" sz="900" b="0" i="0" u="none" strike="noStrike" kern="1200" cap="none" spc="0" normalizeH="0" baseline="0" noProof="0" smtClean="0">
                <a:ln>
                  <a:noFill/>
                </a:ln>
                <a:solidFill>
                  <a:srgbClr val="00205C"/>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9FCF996C-1BB1-053A-49F4-68AA6A5C13F1}"/>
              </a:ext>
            </a:extLst>
          </p:cNvPr>
          <p:cNvSpPr txBox="1">
            <a:spLocks/>
          </p:cNvSpPr>
          <p:nvPr/>
        </p:nvSpPr>
        <p:spPr>
          <a:xfrm>
            <a:off x="210206" y="1259632"/>
            <a:ext cx="7317645" cy="4222622"/>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tx1">
                    <a:lumMod val="50000"/>
                    <a:lumOff val="50000"/>
                  </a:schemeClr>
                </a:solidFill>
                <a:latin typeface="Segoe Condensed" panose="020B0606040200020203"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b="1" kern="1200">
                <a:solidFill>
                  <a:schemeClr val="tx1">
                    <a:lumMod val="50000"/>
                    <a:lumOff val="50000"/>
                  </a:schemeClr>
                </a:solidFill>
                <a:latin typeface="Segoe Condensed" panose="020B0606040200020203"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b="1" kern="1200">
                <a:solidFill>
                  <a:schemeClr val="tx1">
                    <a:lumMod val="50000"/>
                    <a:lumOff val="50000"/>
                  </a:schemeClr>
                </a:solidFill>
                <a:latin typeface="Segoe Condensed" panose="020B0606040200020203"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The development of influenza candidate vaccine viruses (CVVs), coordinated by WHO, remains an essential component of the overall global strategy for influenza pandemic preparednes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Zoonotic influenza viruses continue to be identified and evolve both genetically and antigenically, leading to the need for additional CVVs for pandemic preparedness purposes. </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Meetings twice a year to update CVVs – upcoming meeting in September 2024.</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Previous meeting: </a:t>
            </a:r>
            <a:r>
              <a:rPr kumimoji="0" lang="en-US" sz="18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hlinkClick r:id="rId3"/>
              </a:rPr>
              <a:t>Genetic and antigenic characteristics of zoonotic influenza A viruses and development of candidate vaccine viruses for pandemic preparedness, February 2024</a:t>
            </a:r>
            <a:endParaRPr kumimoji="0" lang="en-US" sz="18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An update was published in May 2024 given new information on the H5N1 viruses identified in diary cattle in the USA: </a:t>
            </a:r>
            <a:r>
              <a:rPr kumimoji="0" lang="en-US" sz="1800" b="0" i="0" u="none" strike="noStrike" kern="1200" cap="none" spc="0" normalizeH="0" baseline="0" noProof="0" dirty="0">
                <a:ln>
                  <a:noFill/>
                </a:ln>
                <a:solidFill>
                  <a:srgbClr val="3C4245"/>
                </a:solidFill>
                <a:effectLst/>
                <a:uLnTx/>
                <a:uFillTx/>
                <a:latin typeface="Calibri" panose="020F0502020204030204"/>
                <a:ea typeface="+mn-ea"/>
                <a:cs typeface="+mn-cs"/>
                <a:hlinkClick r:id="rId4"/>
              </a:rPr>
              <a:t>Genetic and antigenic characteristics of clade 2.3.4.4b A(H5N1) viruses identified in dairy cattle in the United States of America</a:t>
            </a:r>
            <a:endParaRPr kumimoji="0" lang="en-US" sz="1800" b="0" i="0" u="none" strike="noStrike" kern="1200" cap="none" spc="0" normalizeH="0" baseline="0" noProof="0" dirty="0">
              <a:ln>
                <a:noFill/>
              </a:ln>
              <a:solidFill>
                <a:srgbClr val="3C4245"/>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A66798B6-B3C9-D92D-1B05-6FD58A903526}"/>
              </a:ext>
            </a:extLst>
          </p:cNvPr>
          <p:cNvSpPr txBox="1"/>
          <p:nvPr/>
        </p:nvSpPr>
        <p:spPr>
          <a:xfrm>
            <a:off x="8185591" y="5174477"/>
            <a:ext cx="3359190" cy="307777"/>
          </a:xfrm>
          <a:prstGeom prst="rect">
            <a:avLst/>
          </a:prstGeom>
          <a:noFill/>
          <a:ln>
            <a:no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2862"/>
                </a:solidFill>
                <a:effectLst/>
                <a:uLnTx/>
                <a:uFillTx/>
                <a:latin typeface="Calibri" panose="020F0502020204030204"/>
                <a:ea typeface="+mn-ea"/>
                <a:cs typeface="+mn-cs"/>
                <a:hlinkClick r:id="rId5"/>
              </a:rPr>
              <a:t>A(H5N1) - Northern hemisphere 2024-2025</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8" name="Picture 7" descr="A document with text and images&#10;&#10;Description automatically generated">
            <a:extLst>
              <a:ext uri="{FF2B5EF4-FFF2-40B4-BE49-F238E27FC236}">
                <a16:creationId xmlns:a16="http://schemas.microsoft.com/office/drawing/2014/main" id="{B2588CE8-CB43-FB68-A9CD-AB2FEA8F25EB}"/>
              </a:ext>
            </a:extLst>
          </p:cNvPr>
          <p:cNvPicPr>
            <a:picLocks noChangeAspect="1"/>
          </p:cNvPicPr>
          <p:nvPr/>
        </p:nvPicPr>
        <p:blipFill>
          <a:blip r:embed="rId6"/>
          <a:stretch>
            <a:fillRect/>
          </a:stretch>
        </p:blipFill>
        <p:spPr>
          <a:xfrm>
            <a:off x="8613478" y="1257024"/>
            <a:ext cx="2593237" cy="3854430"/>
          </a:xfrm>
          <a:prstGeom prst="rect">
            <a:avLst/>
          </a:prstGeom>
          <a:ln>
            <a:solidFill>
              <a:srgbClr val="272B63"/>
            </a:solidFill>
          </a:ln>
        </p:spPr>
      </p:pic>
    </p:spTree>
    <p:extLst>
      <p:ext uri="{BB962C8B-B14F-4D97-AF65-F5344CB8AC3E}">
        <p14:creationId xmlns:p14="http://schemas.microsoft.com/office/powerpoint/2010/main" val="876027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66EAE-73D6-4B32-BF85-ABB27C3945B6}"/>
              </a:ext>
            </a:extLst>
          </p:cNvPr>
          <p:cNvSpPr txBox="1">
            <a:spLocks/>
          </p:cNvSpPr>
          <p:nvPr/>
        </p:nvSpPr>
        <p:spPr>
          <a:xfrm>
            <a:off x="440787" y="114300"/>
            <a:ext cx="10972800" cy="1143000"/>
          </a:xfrm>
          <a:prstGeom prst="rect">
            <a:avLst/>
          </a:prstGeom>
        </p:spPr>
        <p:txBody>
          <a:bodyPr anchor="ctr">
            <a:normAutofit fontScale="97500"/>
          </a:bodyPr>
          <a:lstStyle>
            <a:lvl1pPr algn="l" defTabSz="914400" rtl="0" eaLnBrk="1" latinLnBrk="0" hangingPunct="1">
              <a:spcBef>
                <a:spcPct val="0"/>
              </a:spcBef>
              <a:buNone/>
              <a:defRPr sz="4400" b="1" kern="1200">
                <a:solidFill>
                  <a:schemeClr val="bg1"/>
                </a:solidFill>
                <a:latin typeface="Segoe Condensed" panose="020B0606040200020203"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Calibri" panose="020F0502020204030204"/>
                <a:ea typeface="+mj-ea"/>
                <a:cs typeface="+mj-cs"/>
              </a:rPr>
              <a:t>Surveillance for zoonotic influenza</a:t>
            </a:r>
            <a:endParaRPr kumimoji="0" lang="en-GB" sz="36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sp>
        <p:nvSpPr>
          <p:cNvPr id="5" name="TextBox 4">
            <a:extLst>
              <a:ext uri="{FF2B5EF4-FFF2-40B4-BE49-F238E27FC236}">
                <a16:creationId xmlns:a16="http://schemas.microsoft.com/office/drawing/2014/main" id="{2ECA0EEB-614D-4F35-AEFF-321768A96AD0}"/>
              </a:ext>
            </a:extLst>
          </p:cNvPr>
          <p:cNvSpPr txBox="1"/>
          <p:nvPr/>
        </p:nvSpPr>
        <p:spPr>
          <a:xfrm>
            <a:off x="440787" y="1287244"/>
            <a:ext cx="7352878" cy="467820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Objectiv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rapidly detect human cases of A(H5) virus infec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assess and monitor changes in transmission patterns and detect early any unusual events that may signal human-to-human transmission of the viru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characterize and monitor changes in influenza A(H5) viruses infecting humans – relative to those in animals- to inform control strateg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describe the clinical presentation of illness and identify risk factors for infection and severe outcomes.</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C0"/>
                </a:solidFill>
                <a:effectLst/>
                <a:uLnTx/>
                <a:uFillTx/>
                <a:latin typeface="Calibri" panose="020F0502020204030204"/>
                <a:ea typeface="+mn-ea"/>
                <a:cs typeface="+mn-cs"/>
              </a:rPr>
              <a:t>The timely detection of a virus that could emerge, spread and cause illness in humans requires multiple event-based and indicator-based systems to work together. </a:t>
            </a:r>
          </a:p>
        </p:txBody>
      </p:sp>
      <p:pic>
        <p:nvPicPr>
          <p:cNvPr id="7" name="Picture 6">
            <a:extLst>
              <a:ext uri="{FF2B5EF4-FFF2-40B4-BE49-F238E27FC236}">
                <a16:creationId xmlns:a16="http://schemas.microsoft.com/office/drawing/2014/main" id="{6D37DF12-8622-488F-AC7B-72CAE320F9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9792" y="1247395"/>
            <a:ext cx="3543795" cy="4429743"/>
          </a:xfrm>
          <a:prstGeom prst="rect">
            <a:avLst/>
          </a:prstGeom>
        </p:spPr>
      </p:pic>
      <p:sp>
        <p:nvSpPr>
          <p:cNvPr id="9" name="TextBox 8">
            <a:extLst>
              <a:ext uri="{FF2B5EF4-FFF2-40B4-BE49-F238E27FC236}">
                <a16:creationId xmlns:a16="http://schemas.microsoft.com/office/drawing/2014/main" id="{1A261557-0D52-4CA3-A26E-E97257C0CF36}"/>
              </a:ext>
            </a:extLst>
          </p:cNvPr>
          <p:cNvSpPr txBox="1"/>
          <p:nvPr/>
        </p:nvSpPr>
        <p:spPr>
          <a:xfrm>
            <a:off x="7869792" y="5687123"/>
            <a:ext cx="4418974"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hlinkClick r:id="rId4"/>
              </a:rPr>
              <a:t>“Crafting the mosaic”: a framework for resilient surveillance for respiratory viruses of epidemic and pandemic potential</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A59213DF-41AF-FAB9-4F74-695A7D418134}"/>
              </a:ext>
            </a:extLst>
          </p:cNvPr>
          <p:cNvSpPr>
            <a:spLocks noGrp="1"/>
          </p:cNvSpPr>
          <p:nvPr>
            <p:ph type="title"/>
          </p:nvPr>
        </p:nvSpPr>
        <p:spPr/>
        <p:txBody>
          <a:bodyPr/>
          <a:lstStyle/>
          <a:p>
            <a:r>
              <a:rPr lang="en-US" dirty="0"/>
              <a:t>Surveillance</a:t>
            </a:r>
            <a:endParaRPr lang="en-GB" dirty="0"/>
          </a:p>
        </p:txBody>
      </p:sp>
    </p:spTree>
    <p:extLst>
      <p:ext uri="{BB962C8B-B14F-4D97-AF65-F5344CB8AC3E}">
        <p14:creationId xmlns:p14="http://schemas.microsoft.com/office/powerpoint/2010/main" val="27602758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ECA0EEB-614D-4F35-AEFF-321768A96AD0}"/>
              </a:ext>
            </a:extLst>
          </p:cNvPr>
          <p:cNvSpPr txBox="1"/>
          <p:nvPr/>
        </p:nvSpPr>
        <p:spPr>
          <a:xfrm>
            <a:off x="457200" y="1336104"/>
            <a:ext cx="8010042" cy="507831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Surveillance approach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rPr>
              <a:t>Health facility event-based surveillance</a:t>
            </a:r>
          </a:p>
          <a:p>
            <a:pPr marL="74295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Workers at health care facilities, including private clinics, should be </a:t>
            </a:r>
          </a:p>
          <a:p>
            <a:pPr marL="1200150" marR="0" lvl="2"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informed about the possible signs and symptoms of infection with a zoonotic influenza virus, </a:t>
            </a:r>
          </a:p>
          <a:p>
            <a:pPr marL="1200150" marR="0" lvl="2"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nd about how and to whom they should report any suspected cas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rPr>
              <a:t>Community event-based surveillanc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rPr>
              <a:t>Notifiable disease surveillanc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rPr>
              <a:t>Laboratory network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rPr>
              <a:t>Targeted special population surveillance</a:t>
            </a:r>
          </a:p>
          <a:p>
            <a:pPr marL="74295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Monitor the health of people exposed to animals with influenza or to other people with zoonotic influenza.</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rPr>
              <a:t>Media event-based surveillanc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rPr>
              <a:t>Syndromic surveillance (ILI and SARI, </a:t>
            </a:r>
            <a:r>
              <a:rPr kumimoji="0" lang="en-US" sz="1800" b="0" i="1" u="none" strike="noStrike" kern="1200" cap="none" spc="0" normalizeH="0" baseline="0" noProof="0" dirty="0" err="1">
                <a:ln>
                  <a:noFill/>
                </a:ln>
                <a:solidFill>
                  <a:srgbClr val="000000"/>
                </a:solidFill>
                <a:effectLst/>
                <a:uLnTx/>
                <a:uFillTx/>
                <a:latin typeface="Calibri" panose="020F0502020204030204"/>
                <a:ea typeface="+mn-ea"/>
                <a:cs typeface="+mn-cs"/>
              </a:rPr>
              <a:t>etc</a:t>
            </a:r>
            <a:r>
              <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a:ea typeface="+mn-ea"/>
                <a:cs typeface="+mn-cs"/>
              </a:rPr>
              <a:t>Investigations and stud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4" name="Content Placeholder 5" descr="A picture containing person, indoor&#10;&#10;Description automatically generated">
            <a:extLst>
              <a:ext uri="{FF2B5EF4-FFF2-40B4-BE49-F238E27FC236}">
                <a16:creationId xmlns:a16="http://schemas.microsoft.com/office/drawing/2014/main" id="{43472537-9AAD-426E-99A9-E4A661F741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67242" y="2009553"/>
            <a:ext cx="3598059" cy="2392326"/>
          </a:xfrm>
          <a:prstGeom prst="rect">
            <a:avLst/>
          </a:prstGeom>
        </p:spPr>
      </p:pic>
      <p:sp>
        <p:nvSpPr>
          <p:cNvPr id="3" name="Title 2">
            <a:extLst>
              <a:ext uri="{FF2B5EF4-FFF2-40B4-BE49-F238E27FC236}">
                <a16:creationId xmlns:a16="http://schemas.microsoft.com/office/drawing/2014/main" id="{6712F586-DFB7-49D5-B948-8DECE5518BD3}"/>
              </a:ext>
            </a:extLst>
          </p:cNvPr>
          <p:cNvSpPr>
            <a:spLocks noGrp="1"/>
          </p:cNvSpPr>
          <p:nvPr>
            <p:ph type="title"/>
          </p:nvPr>
        </p:nvSpPr>
        <p:spPr/>
        <p:txBody>
          <a:bodyPr/>
          <a:lstStyle/>
          <a:p>
            <a:r>
              <a:rPr lang="en-US" dirty="0"/>
              <a:t>Surveillance</a:t>
            </a:r>
            <a:endParaRPr lang="en-GB" dirty="0"/>
          </a:p>
        </p:txBody>
      </p:sp>
    </p:spTree>
    <p:extLst>
      <p:ext uri="{BB962C8B-B14F-4D97-AF65-F5344CB8AC3E}">
        <p14:creationId xmlns:p14="http://schemas.microsoft.com/office/powerpoint/2010/main" val="18330226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825648F-5D43-41E0-ACA9-A42FA3EA0B29}"/>
              </a:ext>
            </a:extLst>
          </p:cNvPr>
          <p:cNvSpPr txBox="1"/>
          <p:nvPr/>
        </p:nvSpPr>
        <p:spPr>
          <a:xfrm>
            <a:off x="449344" y="1188244"/>
            <a:ext cx="7682020" cy="507831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Times New Roman" panose="02020603050405020304" pitchFamily="18" charset="0"/>
              </a:rPr>
              <a:t>Thoroughly </a:t>
            </a:r>
            <a:r>
              <a:rPr kumimoji="0" lang="en-GB" sz="1800" b="0" i="0" u="none" strike="noStrike" kern="1200" cap="none" spc="0" normalizeH="0" baseline="0" noProof="0" dirty="0">
                <a:ln>
                  <a:noFill/>
                </a:ln>
                <a:solidFill>
                  <a:srgbClr val="000000"/>
                </a:solidFill>
                <a:effectLst/>
                <a:uLnTx/>
                <a:uFillTx/>
                <a:latin typeface="Calibri" panose="020F0502020204030204"/>
                <a:ea typeface="MS Mincho" panose="02020609040205080304" pitchFamily="49" charset="-128"/>
                <a:cs typeface="Times New Roman" panose="02020603050405020304" pitchFamily="18" charset="0"/>
              </a:rPr>
              <a:t>investigate and monitor closely all suspected and confirmed cases and implement</a:t>
            </a:r>
            <a:r>
              <a:rPr kumimoji="0" lang="en-GB" sz="1800" b="0" i="0"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Times New Roman" panose="02020603050405020304" pitchFamily="18" charset="0"/>
              </a:rPr>
              <a:t> </a:t>
            </a:r>
            <a:r>
              <a:rPr kumimoji="0" lang="en-GB" sz="1800" b="1" i="0"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Times New Roman" panose="02020603050405020304" pitchFamily="18" charset="0"/>
              </a:rPr>
              <a:t>immediate public health actions</a:t>
            </a:r>
            <a:r>
              <a:rPr kumimoji="0" lang="en-GB" sz="1800" b="0" i="0"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Times New Roman" panose="02020603050405020304" pitchFamily="18" charset="0"/>
              </a:rPr>
              <a:t>:</a:t>
            </a:r>
          </a:p>
          <a:p>
            <a:pPr marL="74295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include testing for animal influenza viruses in investigation and laboratory protocols,</a:t>
            </a:r>
            <a:endParaRPr kumimoji="0" lang="en-GB" sz="1800" b="0" i="0"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Times New Roman" panose="02020603050405020304" pitchFamily="18" charset="0"/>
            </a:endParaRPr>
          </a:p>
          <a:p>
            <a:pPr marL="74295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Times New Roman" panose="02020603050405020304" pitchFamily="18" charset="0"/>
              </a:rPr>
              <a:t>assess exposure to animals and travel history, </a:t>
            </a:r>
          </a:p>
          <a:p>
            <a:pPr marL="74295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Times New Roman" panose="02020603050405020304" pitchFamily="18" charset="0"/>
              </a:rPr>
              <a:t>contact tracing and active searching for other cases,</a:t>
            </a:r>
          </a:p>
          <a:p>
            <a:pPr marL="74295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GB" sz="1800" b="0" i="1"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Times New Roman" panose="02020603050405020304" pitchFamily="18" charset="0"/>
              </a:rPr>
              <a:t>and the early identification of any unusual respiratory events that could signal </a:t>
            </a:r>
            <a:r>
              <a:rPr kumimoji="0" lang="en-GB" sz="1800" b="1" i="1"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Times New Roman" panose="02020603050405020304" pitchFamily="18" charset="0"/>
              </a:rPr>
              <a:t>person-to-person transmission </a:t>
            </a:r>
            <a:r>
              <a:rPr kumimoji="0" lang="en-GB" sz="1800" b="0" i="1"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Times New Roman" panose="02020603050405020304" pitchFamily="18" charset="0"/>
              </a:rPr>
              <a:t>of the viru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1" i="0" u="none" strike="noStrike" kern="1200" cap="none" spc="0" normalizeH="0" baseline="0" noProof="0" dirty="0">
              <a:ln>
                <a:noFill/>
              </a:ln>
              <a:solidFill>
                <a:srgbClr val="000000"/>
              </a:solidFill>
              <a:effectLst/>
              <a:uLnTx/>
              <a:uFillTx/>
              <a:latin typeface="Calibri" panose="020F0502020204030204" pitchFamily="34" charset="0"/>
              <a:ea typeface="SimSun" panose="02010600030101010101" pitchFamily="2" charset="-122"/>
              <a:cs typeface="Times New Roman" panose="02020603050405020304" pitchFamily="18"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S Mincho" panose="02020609040205080304" pitchFamily="49" charset="-128"/>
                <a:cs typeface="Times New Roman" panose="02020603050405020304" pitchFamily="18" charset="0"/>
              </a:rPr>
              <a:t>Public health and animal health authorities should work together in a </a:t>
            </a:r>
            <a:r>
              <a:rPr kumimoji="0" lang="en-GB" sz="1800" b="1" i="0" u="none" strike="noStrike" kern="1200" cap="none" spc="0" normalizeH="0" baseline="0" noProof="0" dirty="0">
                <a:ln>
                  <a:noFill/>
                </a:ln>
                <a:solidFill>
                  <a:srgbClr val="000000"/>
                </a:solidFill>
                <a:effectLst/>
                <a:uLnTx/>
                <a:uFillTx/>
                <a:latin typeface="Calibri" panose="020F0502020204030204" pitchFamily="34" charset="0"/>
                <a:ea typeface="MS Mincho" panose="02020609040205080304" pitchFamily="49" charset="-128"/>
                <a:cs typeface="Times New Roman" panose="02020603050405020304" pitchFamily="18" charset="0"/>
              </a:rPr>
              <a:t>One Health approach </a:t>
            </a: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S Mincho" panose="02020609040205080304" pitchFamily="49" charset="-128"/>
                <a:cs typeface="Times New Roman" panose="02020603050405020304" pitchFamily="18" charset="0"/>
              </a:rPr>
              <a:t>and share information during investigations of human cases of zoonotic influenza,</a:t>
            </a:r>
          </a:p>
          <a:p>
            <a:pPr marL="74295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S Mincho" panose="02020609040205080304" pitchFamily="49" charset="-128"/>
                <a:cs typeface="Times New Roman" panose="02020603050405020304" pitchFamily="18" charset="0"/>
              </a:rPr>
              <a:t>assessing the role of local animals as sources of exposure,</a:t>
            </a:r>
          </a:p>
          <a:p>
            <a:pPr marL="74295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S Mincho" panose="02020609040205080304" pitchFamily="49" charset="-128"/>
                <a:cs typeface="Times New Roman" panose="02020603050405020304" pitchFamily="18" charset="0"/>
              </a:rPr>
              <a:t>understanding if any illnesses / deaths have occurred in local animals,</a:t>
            </a:r>
          </a:p>
          <a:p>
            <a:pPr marL="74295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S Mincho" panose="02020609040205080304" pitchFamily="49" charset="-128"/>
                <a:cs typeface="Times New Roman" panose="02020603050405020304" pitchFamily="18" charset="0"/>
              </a:rPr>
              <a:t>and whether animal influenza viruses are circulating in local animals.</a:t>
            </a:r>
            <a:endParaRPr kumimoji="0" lang="en-GB" sz="1800" b="0" i="0" u="none" strike="noStrike" kern="1200" cap="none" spc="0" normalizeH="0" baseline="0" noProof="0" dirty="0">
              <a:ln>
                <a:noFill/>
              </a:ln>
              <a:solidFill>
                <a:srgbClr val="000000"/>
              </a:solidFill>
              <a:effectLst/>
              <a:uLnTx/>
              <a:uFillTx/>
              <a:latin typeface="Calibri" panose="020F0502020204030204"/>
              <a:ea typeface="MS Mincho" panose="02020609040205080304" pitchFamily="49" charset="-128"/>
              <a:cs typeface="Times New Roman" panose="02020603050405020304" pitchFamily="18"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S Mincho" panose="02020609040205080304" pitchFamily="49" charset="-128"/>
              <a:cs typeface="Times New Roman" panose="02020603050405020304" pitchFamily="18"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D5471944-D88B-4991-8CCB-8B0057FC1B47}"/>
              </a:ext>
            </a:extLst>
          </p:cNvPr>
          <p:cNvSpPr txBox="1"/>
          <p:nvPr/>
        </p:nvSpPr>
        <p:spPr>
          <a:xfrm>
            <a:off x="7598722" y="5726266"/>
            <a:ext cx="6112412"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hlinkClick r:id="rId3"/>
              </a:rPr>
              <a:t>https://www.who.int/publications/i/item/WHO-WHE-IHM-GIP-2018.2</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9" name="Picture 8" descr="A magnifying glass with words&#10;&#10;Description automatically generated with medium confidence">
            <a:extLst>
              <a:ext uri="{FF2B5EF4-FFF2-40B4-BE49-F238E27FC236}">
                <a16:creationId xmlns:a16="http://schemas.microsoft.com/office/drawing/2014/main" id="{3D90FA45-2991-4C11-8A2B-9DCBDD73F9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14959" y="1333405"/>
            <a:ext cx="2827697" cy="4191190"/>
          </a:xfrm>
          <a:prstGeom prst="rect">
            <a:avLst/>
          </a:prstGeom>
        </p:spPr>
      </p:pic>
      <p:sp>
        <p:nvSpPr>
          <p:cNvPr id="5" name="Title 4">
            <a:extLst>
              <a:ext uri="{FF2B5EF4-FFF2-40B4-BE49-F238E27FC236}">
                <a16:creationId xmlns:a16="http://schemas.microsoft.com/office/drawing/2014/main" id="{D60F0DCA-2BF5-FA62-029A-19CFBE63F8EC}"/>
              </a:ext>
            </a:extLst>
          </p:cNvPr>
          <p:cNvSpPr>
            <a:spLocks noGrp="1"/>
          </p:cNvSpPr>
          <p:nvPr>
            <p:ph type="title"/>
          </p:nvPr>
        </p:nvSpPr>
        <p:spPr/>
        <p:txBody>
          <a:bodyPr/>
          <a:lstStyle/>
          <a:p>
            <a:r>
              <a:rPr lang="en-US" dirty="0"/>
              <a:t>Investigations</a:t>
            </a:r>
            <a:endParaRPr lang="en-GB" dirty="0"/>
          </a:p>
        </p:txBody>
      </p:sp>
    </p:spTree>
    <p:extLst>
      <p:ext uri="{BB962C8B-B14F-4D97-AF65-F5344CB8AC3E}">
        <p14:creationId xmlns:p14="http://schemas.microsoft.com/office/powerpoint/2010/main" val="19851357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A83B9-2FE8-7329-9148-A37017010DDB}"/>
            </a:ext>
          </a:extLst>
        </p:cNvPr>
        <p:cNvGrpSpPr/>
        <p:nvPr/>
      </p:nvGrpSpPr>
      <p:grpSpPr>
        <a:xfrm>
          <a:off x="0" y="0"/>
          <a:ext cx="0" cy="0"/>
          <a:chOff x="0" y="0"/>
          <a:chExt cx="0" cy="0"/>
        </a:xfrm>
      </p:grpSpPr>
      <p:grpSp>
        <p:nvGrpSpPr>
          <p:cNvPr id="20" name="Group 19">
            <a:extLst>
              <a:ext uri="{FF2B5EF4-FFF2-40B4-BE49-F238E27FC236}">
                <a16:creationId xmlns:a16="http://schemas.microsoft.com/office/drawing/2014/main" id="{6EE038B2-8488-0107-98FC-A73A0E034525}"/>
              </a:ext>
            </a:extLst>
          </p:cNvPr>
          <p:cNvGrpSpPr/>
          <p:nvPr/>
        </p:nvGrpSpPr>
        <p:grpSpPr>
          <a:xfrm rot="10800000">
            <a:off x="0" y="900753"/>
            <a:ext cx="12192000" cy="3894910"/>
            <a:chOff x="0" y="1381766"/>
            <a:chExt cx="12191756" cy="4095318"/>
          </a:xfrm>
        </p:grpSpPr>
        <p:sp>
          <p:nvSpPr>
            <p:cNvPr id="15" name="Freeform: Shape 14">
              <a:extLst>
                <a:ext uri="{FF2B5EF4-FFF2-40B4-BE49-F238E27FC236}">
                  <a16:creationId xmlns:a16="http://schemas.microsoft.com/office/drawing/2014/main" id="{1B82BE42-BC4F-1621-AE57-A5C957701EF8}"/>
                </a:ext>
              </a:extLst>
            </p:cNvPr>
            <p:cNvSpPr/>
            <p:nvPr/>
          </p:nvSpPr>
          <p:spPr>
            <a:xfrm>
              <a:off x="609" y="3397499"/>
              <a:ext cx="31744" cy="28393"/>
            </a:xfrm>
            <a:custGeom>
              <a:avLst/>
              <a:gdLst>
                <a:gd name="connsiteX0" fmla="*/ 4266 w 31744"/>
                <a:gd name="connsiteY0" fmla="*/ 28196 h 28393"/>
                <a:gd name="connsiteX1" fmla="*/ 0 w 31744"/>
                <a:gd name="connsiteY1" fmla="*/ 23809 h 28393"/>
                <a:gd name="connsiteX2" fmla="*/ 27906 w 31744"/>
                <a:gd name="connsiteY2" fmla="*/ -197 h 28393"/>
                <a:gd name="connsiteX3" fmla="*/ 31745 w 31744"/>
                <a:gd name="connsiteY3" fmla="*/ 4555 h 28393"/>
                <a:gd name="connsiteX4" fmla="*/ 4266 w 31744"/>
                <a:gd name="connsiteY4" fmla="*/ 28196 h 2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44" h="28393">
                  <a:moveTo>
                    <a:pt x="4266" y="28196"/>
                  </a:moveTo>
                  <a:lnTo>
                    <a:pt x="0" y="23809"/>
                  </a:lnTo>
                  <a:cubicBezTo>
                    <a:pt x="427" y="23443"/>
                    <a:pt x="9627" y="14548"/>
                    <a:pt x="27906" y="-197"/>
                  </a:cubicBezTo>
                  <a:lnTo>
                    <a:pt x="31745" y="4555"/>
                  </a:lnTo>
                  <a:cubicBezTo>
                    <a:pt x="13649" y="19117"/>
                    <a:pt x="4326" y="28074"/>
                    <a:pt x="4266" y="28196"/>
                  </a:cubicBezTo>
                  <a:close/>
                </a:path>
              </a:pathLst>
            </a:custGeom>
            <a:solidFill>
              <a:schemeClr val="bg1"/>
            </a:solidFill>
            <a:ln w="6093"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44FC5D6C-8A03-FC62-2977-0E0BBE7AA2EA}"/>
                </a:ext>
              </a:extLst>
            </p:cNvPr>
            <p:cNvSpPr/>
            <p:nvPr/>
          </p:nvSpPr>
          <p:spPr>
            <a:xfrm>
              <a:off x="87555" y="1849279"/>
              <a:ext cx="12011405" cy="2789415"/>
            </a:xfrm>
            <a:custGeom>
              <a:avLst/>
              <a:gdLst>
                <a:gd name="connsiteX0" fmla="*/ 3350638 w 12011405"/>
                <a:gd name="connsiteY0" fmla="*/ 2789218 h 2789415"/>
                <a:gd name="connsiteX1" fmla="*/ 3350333 w 12011405"/>
                <a:gd name="connsiteY1" fmla="*/ 2783125 h 2789415"/>
                <a:gd name="connsiteX2" fmla="*/ 3422961 w 12011405"/>
                <a:gd name="connsiteY2" fmla="*/ 2776484 h 2789415"/>
                <a:gd name="connsiteX3" fmla="*/ 3423814 w 12011405"/>
                <a:gd name="connsiteY3" fmla="*/ 2782577 h 2789415"/>
                <a:gd name="connsiteX4" fmla="*/ 3350638 w 12011405"/>
                <a:gd name="connsiteY4" fmla="*/ 2789218 h 2789415"/>
                <a:gd name="connsiteX5" fmla="*/ 3277096 w 12011405"/>
                <a:gd name="connsiteY5" fmla="*/ 2789218 h 2789415"/>
                <a:gd name="connsiteX6" fmla="*/ 3203980 w 12011405"/>
                <a:gd name="connsiteY6" fmla="*/ 2781419 h 2789415"/>
                <a:gd name="connsiteX7" fmla="*/ 3204955 w 12011405"/>
                <a:gd name="connsiteY7" fmla="*/ 2775326 h 2789415"/>
                <a:gd name="connsiteX8" fmla="*/ 3277217 w 12011405"/>
                <a:gd name="connsiteY8" fmla="*/ 2783064 h 2789415"/>
                <a:gd name="connsiteX9" fmla="*/ 3496077 w 12011405"/>
                <a:gd name="connsiteY9" fmla="*/ 2769904 h 2789415"/>
                <a:gd name="connsiteX10" fmla="*/ 3494797 w 12011405"/>
                <a:gd name="connsiteY10" fmla="*/ 2763811 h 2789415"/>
                <a:gd name="connsiteX11" fmla="*/ 3565414 w 12011405"/>
                <a:gd name="connsiteY11" fmla="*/ 2745532 h 2789415"/>
                <a:gd name="connsiteX12" fmla="*/ 3567120 w 12011405"/>
                <a:gd name="connsiteY12" fmla="*/ 2751625 h 2789415"/>
                <a:gd name="connsiteX13" fmla="*/ 3496077 w 12011405"/>
                <a:gd name="connsiteY13" fmla="*/ 2769599 h 2789415"/>
                <a:gd name="connsiteX14" fmla="*/ 3132571 w 12011405"/>
                <a:gd name="connsiteY14" fmla="*/ 2766065 h 2789415"/>
                <a:gd name="connsiteX15" fmla="*/ 3062867 w 12011405"/>
                <a:gd name="connsiteY15" fmla="*/ 2743399 h 2789415"/>
                <a:gd name="connsiteX16" fmla="*/ 3065000 w 12011405"/>
                <a:gd name="connsiteY16" fmla="*/ 2737672 h 2789415"/>
                <a:gd name="connsiteX17" fmla="*/ 3134155 w 12011405"/>
                <a:gd name="connsiteY17" fmla="*/ 2759972 h 2789415"/>
                <a:gd name="connsiteX18" fmla="*/ 3636702 w 12011405"/>
                <a:gd name="connsiteY18" fmla="*/ 2727923 h 2789415"/>
                <a:gd name="connsiteX19" fmla="*/ 3634630 w 12011405"/>
                <a:gd name="connsiteY19" fmla="*/ 2722257 h 2789415"/>
                <a:gd name="connsiteX20" fmla="*/ 3702323 w 12011405"/>
                <a:gd name="connsiteY20" fmla="*/ 2694838 h 2789415"/>
                <a:gd name="connsiteX21" fmla="*/ 3704760 w 12011405"/>
                <a:gd name="connsiteY21" fmla="*/ 2700444 h 2789415"/>
                <a:gd name="connsiteX22" fmla="*/ 3636702 w 12011405"/>
                <a:gd name="connsiteY22" fmla="*/ 2727618 h 2789415"/>
                <a:gd name="connsiteX23" fmla="*/ 2995723 w 12011405"/>
                <a:gd name="connsiteY23" fmla="*/ 2713970 h 2789415"/>
                <a:gd name="connsiteX24" fmla="*/ 2931442 w 12011405"/>
                <a:gd name="connsiteY24" fmla="*/ 2678692 h 2789415"/>
                <a:gd name="connsiteX25" fmla="*/ 2934611 w 12011405"/>
                <a:gd name="connsiteY25" fmla="*/ 2673452 h 2789415"/>
                <a:gd name="connsiteX26" fmla="*/ 2998404 w 12011405"/>
                <a:gd name="connsiteY26" fmla="*/ 2708547 h 2789415"/>
                <a:gd name="connsiteX27" fmla="*/ 3771295 w 12011405"/>
                <a:gd name="connsiteY27" fmla="*/ 2669370 h 2789415"/>
                <a:gd name="connsiteX28" fmla="*/ 3768553 w 12011405"/>
                <a:gd name="connsiteY28" fmla="*/ 2663947 h 2789415"/>
                <a:gd name="connsiteX29" fmla="*/ 3833321 w 12011405"/>
                <a:gd name="connsiteY29" fmla="*/ 2629948 h 2789415"/>
                <a:gd name="connsiteX30" fmla="*/ 3836246 w 12011405"/>
                <a:gd name="connsiteY30" fmla="*/ 2635310 h 2789415"/>
                <a:gd name="connsiteX31" fmla="*/ 3771295 w 12011405"/>
                <a:gd name="connsiteY31" fmla="*/ 2669065 h 2789415"/>
                <a:gd name="connsiteX32" fmla="*/ 2870269 w 12011405"/>
                <a:gd name="connsiteY32" fmla="*/ 2638113 h 2789415"/>
                <a:gd name="connsiteX33" fmla="*/ 2811899 w 12011405"/>
                <a:gd name="connsiteY33" fmla="*/ 2593634 h 2789415"/>
                <a:gd name="connsiteX34" fmla="*/ 2815737 w 12011405"/>
                <a:gd name="connsiteY34" fmla="*/ 2588882 h 2789415"/>
                <a:gd name="connsiteX35" fmla="*/ 2873803 w 12011405"/>
                <a:gd name="connsiteY35" fmla="*/ 2633178 h 2789415"/>
                <a:gd name="connsiteX36" fmla="*/ 3899978 w 12011405"/>
                <a:gd name="connsiteY36" fmla="*/ 2598448 h 2789415"/>
                <a:gd name="connsiteX37" fmla="*/ 3896871 w 12011405"/>
                <a:gd name="connsiteY37" fmla="*/ 2593208 h 2789415"/>
                <a:gd name="connsiteX38" fmla="*/ 3958836 w 12011405"/>
                <a:gd name="connsiteY38" fmla="*/ 2554396 h 2789415"/>
                <a:gd name="connsiteX39" fmla="*/ 3962187 w 12011405"/>
                <a:gd name="connsiteY39" fmla="*/ 2559514 h 2789415"/>
                <a:gd name="connsiteX40" fmla="*/ 3899978 w 12011405"/>
                <a:gd name="connsiteY40" fmla="*/ 2598326 h 2789415"/>
                <a:gd name="connsiteX41" fmla="*/ 2756514 w 12011405"/>
                <a:gd name="connsiteY41" fmla="*/ 2545744 h 2789415"/>
                <a:gd name="connsiteX42" fmla="*/ 2703322 w 12011405"/>
                <a:gd name="connsiteY42" fmla="*/ 2495172 h 2789415"/>
                <a:gd name="connsiteX43" fmla="*/ 2707587 w 12011405"/>
                <a:gd name="connsiteY43" fmla="*/ 2490846 h 2789415"/>
                <a:gd name="connsiteX44" fmla="*/ 2760596 w 12011405"/>
                <a:gd name="connsiteY44" fmla="*/ 2541235 h 2789415"/>
                <a:gd name="connsiteX45" fmla="*/ 4023056 w 12011405"/>
                <a:gd name="connsiteY45" fmla="*/ 2518691 h 2789415"/>
                <a:gd name="connsiteX46" fmla="*/ 4019583 w 12011405"/>
                <a:gd name="connsiteY46" fmla="*/ 2513634 h 2789415"/>
                <a:gd name="connsiteX47" fmla="*/ 4079111 w 12011405"/>
                <a:gd name="connsiteY47" fmla="*/ 2470983 h 2789415"/>
                <a:gd name="connsiteX48" fmla="*/ 4082706 w 12011405"/>
                <a:gd name="connsiteY48" fmla="*/ 2475918 h 2789415"/>
                <a:gd name="connsiteX49" fmla="*/ 4022812 w 12011405"/>
                <a:gd name="connsiteY49" fmla="*/ 2518569 h 2789415"/>
                <a:gd name="connsiteX50" fmla="*/ 2652141 w 12011405"/>
                <a:gd name="connsiteY50" fmla="*/ 2442468 h 2789415"/>
                <a:gd name="connsiteX51" fmla="*/ 2602849 w 12011405"/>
                <a:gd name="connsiteY51" fmla="*/ 2388119 h 2789415"/>
                <a:gd name="connsiteX52" fmla="*/ 2607419 w 12011405"/>
                <a:gd name="connsiteY52" fmla="*/ 2384098 h 2789415"/>
                <a:gd name="connsiteX53" fmla="*/ 2656589 w 12011405"/>
                <a:gd name="connsiteY53" fmla="*/ 2438325 h 2789415"/>
                <a:gd name="connsiteX54" fmla="*/ 4141442 w 12011405"/>
                <a:gd name="connsiteY54" fmla="*/ 2432415 h 2789415"/>
                <a:gd name="connsiteX55" fmla="*/ 4137786 w 12011405"/>
                <a:gd name="connsiteY55" fmla="*/ 2427540 h 2789415"/>
                <a:gd name="connsiteX56" fmla="*/ 4196218 w 12011405"/>
                <a:gd name="connsiteY56" fmla="*/ 2383488 h 2789415"/>
                <a:gd name="connsiteX57" fmla="*/ 4199934 w 12011405"/>
                <a:gd name="connsiteY57" fmla="*/ 2388302 h 2789415"/>
                <a:gd name="connsiteX58" fmla="*/ 4141320 w 12011405"/>
                <a:gd name="connsiteY58" fmla="*/ 2432293 h 2789415"/>
                <a:gd name="connsiteX59" fmla="*/ 4258122 w 12011405"/>
                <a:gd name="connsiteY59" fmla="*/ 2343823 h 2789415"/>
                <a:gd name="connsiteX60" fmla="*/ 4254405 w 12011405"/>
                <a:gd name="connsiteY60" fmla="*/ 2339010 h 2789415"/>
                <a:gd name="connsiteX61" fmla="*/ 4312227 w 12011405"/>
                <a:gd name="connsiteY61" fmla="*/ 2294105 h 2789415"/>
                <a:gd name="connsiteX62" fmla="*/ 4315944 w 12011405"/>
                <a:gd name="connsiteY62" fmla="*/ 2298857 h 2789415"/>
                <a:gd name="connsiteX63" fmla="*/ 4258000 w 12011405"/>
                <a:gd name="connsiteY63" fmla="*/ 2343701 h 2789415"/>
                <a:gd name="connsiteX64" fmla="*/ 2555020 w 12011405"/>
                <a:gd name="connsiteY64" fmla="*/ 2332429 h 2789415"/>
                <a:gd name="connsiteX65" fmla="*/ 2508348 w 12011405"/>
                <a:gd name="connsiteY65" fmla="*/ 2275887 h 2789415"/>
                <a:gd name="connsiteX66" fmla="*/ 2513100 w 12011405"/>
                <a:gd name="connsiteY66" fmla="*/ 2272048 h 2789415"/>
                <a:gd name="connsiteX67" fmla="*/ 2559711 w 12011405"/>
                <a:gd name="connsiteY67" fmla="*/ 2328530 h 2789415"/>
                <a:gd name="connsiteX68" fmla="*/ 4373401 w 12011405"/>
                <a:gd name="connsiteY68" fmla="*/ 2253465 h 2789415"/>
                <a:gd name="connsiteX69" fmla="*/ 4369623 w 12011405"/>
                <a:gd name="connsiteY69" fmla="*/ 2248651 h 2789415"/>
                <a:gd name="connsiteX70" fmla="*/ 4426836 w 12011405"/>
                <a:gd name="connsiteY70" fmla="*/ 2202954 h 2789415"/>
                <a:gd name="connsiteX71" fmla="*/ 4430614 w 12011405"/>
                <a:gd name="connsiteY71" fmla="*/ 2207707 h 2789415"/>
                <a:gd name="connsiteX72" fmla="*/ 4373401 w 12011405"/>
                <a:gd name="connsiteY72" fmla="*/ 2253465 h 2789415"/>
                <a:gd name="connsiteX73" fmla="*/ 2462407 w 12011405"/>
                <a:gd name="connsiteY73" fmla="*/ 2218491 h 2789415"/>
                <a:gd name="connsiteX74" fmla="*/ 2417136 w 12011405"/>
                <a:gd name="connsiteY74" fmla="*/ 2160791 h 2789415"/>
                <a:gd name="connsiteX75" fmla="*/ 2421950 w 12011405"/>
                <a:gd name="connsiteY75" fmla="*/ 2157074 h 2789415"/>
                <a:gd name="connsiteX76" fmla="*/ 2467220 w 12011405"/>
                <a:gd name="connsiteY76" fmla="*/ 2214714 h 2789415"/>
                <a:gd name="connsiteX77" fmla="*/ 4487583 w 12011405"/>
                <a:gd name="connsiteY77" fmla="*/ 2161644 h 2789415"/>
                <a:gd name="connsiteX78" fmla="*/ 4483744 w 12011405"/>
                <a:gd name="connsiteY78" fmla="*/ 2156952 h 2789415"/>
                <a:gd name="connsiteX79" fmla="*/ 4540348 w 12011405"/>
                <a:gd name="connsiteY79" fmla="*/ 2110524 h 2789415"/>
                <a:gd name="connsiteX80" fmla="*/ 4544247 w 12011405"/>
                <a:gd name="connsiteY80" fmla="*/ 2115216 h 2789415"/>
                <a:gd name="connsiteX81" fmla="*/ 4487583 w 12011405"/>
                <a:gd name="connsiteY81" fmla="*/ 2161644 h 2789415"/>
                <a:gd name="connsiteX82" fmla="*/ 2372109 w 12011405"/>
                <a:gd name="connsiteY82" fmla="*/ 2102786 h 2789415"/>
                <a:gd name="connsiteX83" fmla="*/ 2327082 w 12011405"/>
                <a:gd name="connsiteY83" fmla="*/ 2044903 h 2789415"/>
                <a:gd name="connsiteX84" fmla="*/ 2331896 w 12011405"/>
                <a:gd name="connsiteY84" fmla="*/ 2041186 h 2789415"/>
                <a:gd name="connsiteX85" fmla="*/ 2376923 w 12011405"/>
                <a:gd name="connsiteY85" fmla="*/ 2099069 h 2789415"/>
                <a:gd name="connsiteX86" fmla="*/ 9716555 w 12011405"/>
                <a:gd name="connsiteY86" fmla="*/ 2084812 h 2789415"/>
                <a:gd name="connsiteX87" fmla="*/ 9691391 w 12011405"/>
                <a:gd name="connsiteY87" fmla="*/ 2084812 h 2789415"/>
                <a:gd name="connsiteX88" fmla="*/ 9691391 w 12011405"/>
                <a:gd name="connsiteY88" fmla="*/ 2078719 h 2789415"/>
                <a:gd name="connsiteX89" fmla="*/ 9764507 w 12011405"/>
                <a:gd name="connsiteY89" fmla="*/ 2078170 h 2789415"/>
                <a:gd name="connsiteX90" fmla="*/ 9764507 w 12011405"/>
                <a:gd name="connsiteY90" fmla="*/ 2084263 h 2789415"/>
                <a:gd name="connsiteX91" fmla="*/ 9716555 w 12011405"/>
                <a:gd name="connsiteY91" fmla="*/ 2084812 h 2789415"/>
                <a:gd name="connsiteX92" fmla="*/ 9618093 w 12011405"/>
                <a:gd name="connsiteY92" fmla="*/ 2081826 h 2789415"/>
                <a:gd name="connsiteX93" fmla="*/ 9544978 w 12011405"/>
                <a:gd name="connsiteY93" fmla="*/ 2075733 h 2789415"/>
                <a:gd name="connsiteX94" fmla="*/ 9545587 w 12011405"/>
                <a:gd name="connsiteY94" fmla="*/ 2069640 h 2789415"/>
                <a:gd name="connsiteX95" fmla="*/ 9618702 w 12011405"/>
                <a:gd name="connsiteY95" fmla="*/ 2075733 h 2789415"/>
                <a:gd name="connsiteX96" fmla="*/ 9838049 w 12011405"/>
                <a:gd name="connsiteY96" fmla="*/ 2080059 h 2789415"/>
                <a:gd name="connsiteX97" fmla="*/ 9837561 w 12011405"/>
                <a:gd name="connsiteY97" fmla="*/ 2073966 h 2789415"/>
                <a:gd name="connsiteX98" fmla="*/ 9910251 w 12011405"/>
                <a:gd name="connsiteY98" fmla="*/ 2066472 h 2789415"/>
                <a:gd name="connsiteX99" fmla="*/ 9910982 w 12011405"/>
                <a:gd name="connsiteY99" fmla="*/ 2072565 h 2789415"/>
                <a:gd name="connsiteX100" fmla="*/ 9838049 w 12011405"/>
                <a:gd name="connsiteY100" fmla="*/ 2080059 h 2789415"/>
                <a:gd name="connsiteX101" fmla="*/ 4600668 w 12011405"/>
                <a:gd name="connsiteY101" fmla="*/ 2068422 h 2789415"/>
                <a:gd name="connsiteX102" fmla="*/ 4596768 w 12011405"/>
                <a:gd name="connsiteY102" fmla="*/ 2063791 h 2789415"/>
                <a:gd name="connsiteX103" fmla="*/ 4652824 w 12011405"/>
                <a:gd name="connsiteY103" fmla="*/ 2016693 h 2789415"/>
                <a:gd name="connsiteX104" fmla="*/ 4656784 w 12011405"/>
                <a:gd name="connsiteY104" fmla="*/ 2021384 h 2789415"/>
                <a:gd name="connsiteX105" fmla="*/ 4600668 w 12011405"/>
                <a:gd name="connsiteY105" fmla="*/ 2068422 h 2789415"/>
                <a:gd name="connsiteX106" fmla="*/ 9472289 w 12011405"/>
                <a:gd name="connsiteY106" fmla="*/ 2066837 h 2789415"/>
                <a:gd name="connsiteX107" fmla="*/ 9399783 w 12011405"/>
                <a:gd name="connsiteY107" fmla="*/ 2055017 h 2789415"/>
                <a:gd name="connsiteX108" fmla="*/ 9400879 w 12011405"/>
                <a:gd name="connsiteY108" fmla="*/ 2048924 h 2789415"/>
                <a:gd name="connsiteX109" fmla="*/ 9473141 w 12011405"/>
                <a:gd name="connsiteY109" fmla="*/ 2060683 h 2789415"/>
                <a:gd name="connsiteX110" fmla="*/ 9983548 w 12011405"/>
                <a:gd name="connsiteY110" fmla="*/ 2061476 h 2789415"/>
                <a:gd name="connsiteX111" fmla="*/ 9982513 w 12011405"/>
                <a:gd name="connsiteY111" fmla="*/ 2055383 h 2789415"/>
                <a:gd name="connsiteX112" fmla="*/ 10054044 w 12011405"/>
                <a:gd name="connsiteY112" fmla="*/ 2040760 h 2789415"/>
                <a:gd name="connsiteX113" fmla="*/ 10055445 w 12011405"/>
                <a:gd name="connsiteY113" fmla="*/ 2046853 h 2789415"/>
                <a:gd name="connsiteX114" fmla="*/ 9983487 w 12011405"/>
                <a:gd name="connsiteY114" fmla="*/ 2061476 h 2789415"/>
                <a:gd name="connsiteX115" fmla="*/ 9327886 w 12011405"/>
                <a:gd name="connsiteY115" fmla="*/ 2040577 h 2789415"/>
                <a:gd name="connsiteX116" fmla="*/ 9256537 w 12011405"/>
                <a:gd name="connsiteY116" fmla="*/ 2023699 h 2789415"/>
                <a:gd name="connsiteX117" fmla="*/ 9258000 w 12011405"/>
                <a:gd name="connsiteY117" fmla="*/ 2017606 h 2789415"/>
                <a:gd name="connsiteX118" fmla="*/ 9329166 w 12011405"/>
                <a:gd name="connsiteY118" fmla="*/ 2034423 h 2789415"/>
                <a:gd name="connsiteX119" fmla="*/ 10126489 w 12011405"/>
                <a:gd name="connsiteY119" fmla="*/ 2028391 h 2789415"/>
                <a:gd name="connsiteX120" fmla="*/ 10124844 w 12011405"/>
                <a:gd name="connsiteY120" fmla="*/ 2022298 h 2789415"/>
                <a:gd name="connsiteX121" fmla="*/ 10194669 w 12011405"/>
                <a:gd name="connsiteY121" fmla="*/ 2000729 h 2789415"/>
                <a:gd name="connsiteX122" fmla="*/ 10196619 w 12011405"/>
                <a:gd name="connsiteY122" fmla="*/ 2006517 h 2789415"/>
                <a:gd name="connsiteX123" fmla="*/ 10126428 w 12011405"/>
                <a:gd name="connsiteY123" fmla="*/ 2028817 h 2789415"/>
                <a:gd name="connsiteX124" fmla="*/ 9185737 w 12011405"/>
                <a:gd name="connsiteY124" fmla="*/ 2004019 h 2789415"/>
                <a:gd name="connsiteX125" fmla="*/ 9115546 w 12011405"/>
                <a:gd name="connsiteY125" fmla="*/ 1982816 h 2789415"/>
                <a:gd name="connsiteX126" fmla="*/ 9117436 w 12011405"/>
                <a:gd name="connsiteY126" fmla="*/ 1976723 h 2789415"/>
                <a:gd name="connsiteX127" fmla="*/ 9187444 w 12011405"/>
                <a:gd name="connsiteY127" fmla="*/ 1997926 h 2789415"/>
                <a:gd name="connsiteX128" fmla="*/ 2281873 w 12011405"/>
                <a:gd name="connsiteY128" fmla="*/ 1987324 h 2789415"/>
                <a:gd name="connsiteX129" fmla="*/ 2236236 w 12011405"/>
                <a:gd name="connsiteY129" fmla="*/ 1930233 h 2789415"/>
                <a:gd name="connsiteX130" fmla="*/ 2240928 w 12011405"/>
                <a:gd name="connsiteY130" fmla="*/ 1926395 h 2789415"/>
                <a:gd name="connsiteX131" fmla="*/ 2286686 w 12011405"/>
                <a:gd name="connsiteY131" fmla="*/ 1983547 h 2789415"/>
                <a:gd name="connsiteX132" fmla="*/ 10265530 w 12011405"/>
                <a:gd name="connsiteY132" fmla="*/ 1981963 h 2789415"/>
                <a:gd name="connsiteX133" fmla="*/ 10263337 w 12011405"/>
                <a:gd name="connsiteY133" fmla="*/ 1976296 h 2789415"/>
                <a:gd name="connsiteX134" fmla="*/ 10330847 w 12011405"/>
                <a:gd name="connsiteY134" fmla="*/ 1948208 h 2789415"/>
                <a:gd name="connsiteX135" fmla="*/ 10333284 w 12011405"/>
                <a:gd name="connsiteY135" fmla="*/ 1953813 h 2789415"/>
                <a:gd name="connsiteX136" fmla="*/ 10265530 w 12011405"/>
                <a:gd name="connsiteY136" fmla="*/ 1981963 h 2789415"/>
                <a:gd name="connsiteX137" fmla="*/ 4712596 w 12011405"/>
                <a:gd name="connsiteY137" fmla="*/ 1973981 h 2789415"/>
                <a:gd name="connsiteX138" fmla="*/ 4708635 w 12011405"/>
                <a:gd name="connsiteY138" fmla="*/ 1969350 h 2789415"/>
                <a:gd name="connsiteX139" fmla="*/ 4764264 w 12011405"/>
                <a:gd name="connsiteY139" fmla="*/ 1921764 h 2789415"/>
                <a:gd name="connsiteX140" fmla="*/ 4768224 w 12011405"/>
                <a:gd name="connsiteY140" fmla="*/ 1926395 h 2789415"/>
                <a:gd name="connsiteX141" fmla="*/ 4712596 w 12011405"/>
                <a:gd name="connsiteY141" fmla="*/ 1973981 h 2789415"/>
                <a:gd name="connsiteX142" fmla="*/ 9045904 w 12011405"/>
                <a:gd name="connsiteY142" fmla="*/ 1960272 h 2789415"/>
                <a:gd name="connsiteX143" fmla="*/ 8976932 w 12011405"/>
                <a:gd name="connsiteY143" fmla="*/ 1935473 h 2789415"/>
                <a:gd name="connsiteX144" fmla="*/ 8979064 w 12011405"/>
                <a:gd name="connsiteY144" fmla="*/ 1929807 h 2789415"/>
                <a:gd name="connsiteX145" fmla="*/ 9047915 w 12011405"/>
                <a:gd name="connsiteY145" fmla="*/ 1954544 h 2789415"/>
                <a:gd name="connsiteX146" fmla="*/ 10399697 w 12011405"/>
                <a:gd name="connsiteY146" fmla="*/ 1922556 h 2789415"/>
                <a:gd name="connsiteX147" fmla="*/ 10396956 w 12011405"/>
                <a:gd name="connsiteY147" fmla="*/ 1917133 h 2789415"/>
                <a:gd name="connsiteX148" fmla="*/ 10461723 w 12011405"/>
                <a:gd name="connsiteY148" fmla="*/ 1883196 h 2789415"/>
                <a:gd name="connsiteX149" fmla="*/ 10464648 w 12011405"/>
                <a:gd name="connsiteY149" fmla="*/ 1888497 h 2789415"/>
                <a:gd name="connsiteX150" fmla="*/ 10399697 w 12011405"/>
                <a:gd name="connsiteY150" fmla="*/ 1922556 h 2789415"/>
                <a:gd name="connsiteX151" fmla="*/ 8908386 w 12011405"/>
                <a:gd name="connsiteY151" fmla="*/ 1909152 h 2789415"/>
                <a:gd name="connsiteX152" fmla="*/ 8840510 w 12011405"/>
                <a:gd name="connsiteY152" fmla="*/ 1881429 h 2789415"/>
                <a:gd name="connsiteX153" fmla="*/ 8842826 w 12011405"/>
                <a:gd name="connsiteY153" fmla="*/ 1875823 h 2789415"/>
                <a:gd name="connsiteX154" fmla="*/ 8910640 w 12011405"/>
                <a:gd name="connsiteY154" fmla="*/ 1903485 h 2789415"/>
                <a:gd name="connsiteX155" fmla="*/ 4823548 w 12011405"/>
                <a:gd name="connsiteY155" fmla="*/ 1878687 h 2789415"/>
                <a:gd name="connsiteX156" fmla="*/ 4819588 w 12011405"/>
                <a:gd name="connsiteY156" fmla="*/ 1874117 h 2789415"/>
                <a:gd name="connsiteX157" fmla="*/ 4874851 w 12011405"/>
                <a:gd name="connsiteY157" fmla="*/ 1825922 h 2789415"/>
                <a:gd name="connsiteX158" fmla="*/ 4878812 w 12011405"/>
                <a:gd name="connsiteY158" fmla="*/ 1830492 h 2789415"/>
                <a:gd name="connsiteX159" fmla="*/ 4823670 w 12011405"/>
                <a:gd name="connsiteY159" fmla="*/ 1878504 h 2789415"/>
                <a:gd name="connsiteX160" fmla="*/ 2189503 w 12011405"/>
                <a:gd name="connsiteY160" fmla="*/ 1873935 h 2789415"/>
                <a:gd name="connsiteX161" fmla="*/ 2141735 w 12011405"/>
                <a:gd name="connsiteY161" fmla="*/ 1818367 h 2789415"/>
                <a:gd name="connsiteX162" fmla="*/ 2146304 w 12011405"/>
                <a:gd name="connsiteY162" fmla="*/ 1814345 h 2789415"/>
                <a:gd name="connsiteX163" fmla="*/ 2194134 w 12011405"/>
                <a:gd name="connsiteY163" fmla="*/ 1869974 h 2789415"/>
                <a:gd name="connsiteX164" fmla="*/ 8773123 w 12011405"/>
                <a:gd name="connsiteY164" fmla="*/ 1852609 h 2789415"/>
                <a:gd name="connsiteX165" fmla="*/ 8706100 w 12011405"/>
                <a:gd name="connsiteY165" fmla="*/ 1822571 h 2789415"/>
                <a:gd name="connsiteX166" fmla="*/ 8708659 w 12011405"/>
                <a:gd name="connsiteY166" fmla="*/ 1817026 h 2789415"/>
                <a:gd name="connsiteX167" fmla="*/ 8775681 w 12011405"/>
                <a:gd name="connsiteY167" fmla="*/ 1847065 h 2789415"/>
                <a:gd name="connsiteX168" fmla="*/ 10527893 w 12011405"/>
                <a:gd name="connsiteY168" fmla="*/ 1852609 h 2789415"/>
                <a:gd name="connsiteX169" fmla="*/ 10524786 w 12011405"/>
                <a:gd name="connsiteY169" fmla="*/ 1847308 h 2789415"/>
                <a:gd name="connsiteX170" fmla="*/ 10587543 w 12011405"/>
                <a:gd name="connsiteY170" fmla="*/ 1809715 h 2789415"/>
                <a:gd name="connsiteX171" fmla="*/ 10590711 w 12011405"/>
                <a:gd name="connsiteY171" fmla="*/ 1814955 h 2789415"/>
                <a:gd name="connsiteX172" fmla="*/ 10528319 w 12011405"/>
                <a:gd name="connsiteY172" fmla="*/ 1852122 h 2789415"/>
                <a:gd name="connsiteX173" fmla="*/ 8640296 w 12011405"/>
                <a:gd name="connsiteY173" fmla="*/ 1791192 h 2789415"/>
                <a:gd name="connsiteX174" fmla="*/ 8574310 w 12011405"/>
                <a:gd name="connsiteY174" fmla="*/ 1759265 h 2789415"/>
                <a:gd name="connsiteX175" fmla="*/ 8576990 w 12011405"/>
                <a:gd name="connsiteY175" fmla="*/ 1753781 h 2789415"/>
                <a:gd name="connsiteX176" fmla="*/ 8642855 w 12011405"/>
                <a:gd name="connsiteY176" fmla="*/ 1785708 h 2789415"/>
                <a:gd name="connsiteX177" fmla="*/ 4934379 w 12011405"/>
                <a:gd name="connsiteY177" fmla="*/ 1782175 h 2789415"/>
                <a:gd name="connsiteX178" fmla="*/ 4930358 w 12011405"/>
                <a:gd name="connsiteY178" fmla="*/ 1777605 h 2789415"/>
                <a:gd name="connsiteX179" fmla="*/ 4985194 w 12011405"/>
                <a:gd name="connsiteY179" fmla="*/ 1729349 h 2789415"/>
                <a:gd name="connsiteX180" fmla="*/ 4989216 w 12011405"/>
                <a:gd name="connsiteY180" fmla="*/ 1733918 h 2789415"/>
                <a:gd name="connsiteX181" fmla="*/ 10653408 w 12011405"/>
                <a:gd name="connsiteY181" fmla="*/ 1775472 h 2789415"/>
                <a:gd name="connsiteX182" fmla="*/ 10650118 w 12011405"/>
                <a:gd name="connsiteY182" fmla="*/ 1770354 h 2789415"/>
                <a:gd name="connsiteX183" fmla="*/ 10711047 w 12011405"/>
                <a:gd name="connsiteY183" fmla="*/ 1730141 h 2789415"/>
                <a:gd name="connsiteX184" fmla="*/ 10714459 w 12011405"/>
                <a:gd name="connsiteY184" fmla="*/ 1735198 h 2789415"/>
                <a:gd name="connsiteX185" fmla="*/ 10653164 w 12011405"/>
                <a:gd name="connsiteY185" fmla="*/ 1775594 h 2789415"/>
                <a:gd name="connsiteX186" fmla="*/ 2092808 w 12011405"/>
                <a:gd name="connsiteY186" fmla="*/ 1763774 h 2789415"/>
                <a:gd name="connsiteX187" fmla="*/ 2041993 w 12011405"/>
                <a:gd name="connsiteY187" fmla="*/ 1711192 h 2789415"/>
                <a:gd name="connsiteX188" fmla="*/ 2046258 w 12011405"/>
                <a:gd name="connsiteY188" fmla="*/ 1706866 h 2789415"/>
                <a:gd name="connsiteX189" fmla="*/ 2097256 w 12011405"/>
                <a:gd name="connsiteY189" fmla="*/ 1759631 h 2789415"/>
                <a:gd name="connsiteX190" fmla="*/ 8508688 w 12011405"/>
                <a:gd name="connsiteY190" fmla="*/ 1726546 h 2789415"/>
                <a:gd name="connsiteX191" fmla="*/ 8443189 w 12011405"/>
                <a:gd name="connsiteY191" fmla="*/ 1693096 h 2789415"/>
                <a:gd name="connsiteX192" fmla="*/ 8445992 w 12011405"/>
                <a:gd name="connsiteY192" fmla="*/ 1687734 h 2789415"/>
                <a:gd name="connsiteX193" fmla="*/ 8511430 w 12011405"/>
                <a:gd name="connsiteY193" fmla="*/ 1721123 h 2789415"/>
                <a:gd name="connsiteX194" fmla="*/ 10774536 w 12011405"/>
                <a:gd name="connsiteY194" fmla="*/ 1693705 h 2789415"/>
                <a:gd name="connsiteX195" fmla="*/ 10771002 w 12011405"/>
                <a:gd name="connsiteY195" fmla="*/ 1688709 h 2789415"/>
                <a:gd name="connsiteX196" fmla="*/ 10829982 w 12011405"/>
                <a:gd name="connsiteY196" fmla="*/ 1645631 h 2789415"/>
                <a:gd name="connsiteX197" fmla="*/ 10833698 w 12011405"/>
                <a:gd name="connsiteY197" fmla="*/ 1650445 h 2789415"/>
                <a:gd name="connsiteX198" fmla="*/ 10774536 w 12011405"/>
                <a:gd name="connsiteY198" fmla="*/ 1693705 h 2789415"/>
                <a:gd name="connsiteX199" fmla="*/ 5044235 w 12011405"/>
                <a:gd name="connsiteY199" fmla="*/ 1685723 h 2789415"/>
                <a:gd name="connsiteX200" fmla="*/ 5040214 w 12011405"/>
                <a:gd name="connsiteY200" fmla="*/ 1681153 h 2789415"/>
                <a:gd name="connsiteX201" fmla="*/ 5095050 w 12011405"/>
                <a:gd name="connsiteY201" fmla="*/ 1632836 h 2789415"/>
                <a:gd name="connsiteX202" fmla="*/ 5099072 w 12011405"/>
                <a:gd name="connsiteY202" fmla="*/ 1637406 h 2789415"/>
                <a:gd name="connsiteX203" fmla="*/ 1989045 w 12011405"/>
                <a:gd name="connsiteY203" fmla="*/ 1660803 h 2789415"/>
                <a:gd name="connsiteX204" fmla="*/ 1933904 w 12011405"/>
                <a:gd name="connsiteY204" fmla="*/ 1612851 h 2789415"/>
                <a:gd name="connsiteX205" fmla="*/ 1938047 w 12011405"/>
                <a:gd name="connsiteY205" fmla="*/ 1608404 h 2789415"/>
                <a:gd name="connsiteX206" fmla="*/ 1993493 w 12011405"/>
                <a:gd name="connsiteY206" fmla="*/ 1656538 h 2789415"/>
                <a:gd name="connsiteX207" fmla="*/ 8377812 w 12011405"/>
                <a:gd name="connsiteY207" fmla="*/ 1659280 h 2789415"/>
                <a:gd name="connsiteX208" fmla="*/ 8312922 w 12011405"/>
                <a:gd name="connsiteY208" fmla="*/ 1624916 h 2789415"/>
                <a:gd name="connsiteX209" fmla="*/ 8315785 w 12011405"/>
                <a:gd name="connsiteY209" fmla="*/ 1619493 h 2789415"/>
                <a:gd name="connsiteX210" fmla="*/ 8380615 w 12011405"/>
                <a:gd name="connsiteY210" fmla="*/ 1653918 h 2789415"/>
                <a:gd name="connsiteX211" fmla="*/ 10891642 w 12011405"/>
                <a:gd name="connsiteY211" fmla="*/ 1605601 h 2789415"/>
                <a:gd name="connsiteX212" fmla="*/ 10887865 w 12011405"/>
                <a:gd name="connsiteY212" fmla="*/ 1600787 h 2789415"/>
                <a:gd name="connsiteX213" fmla="*/ 10944407 w 12011405"/>
                <a:gd name="connsiteY213" fmla="*/ 1554542 h 2789415"/>
                <a:gd name="connsiteX214" fmla="*/ 10948307 w 12011405"/>
                <a:gd name="connsiteY214" fmla="*/ 1559172 h 2789415"/>
                <a:gd name="connsiteX215" fmla="*/ 10891642 w 12011405"/>
                <a:gd name="connsiteY215" fmla="*/ 1605601 h 2789415"/>
                <a:gd name="connsiteX216" fmla="*/ 8248276 w 12011405"/>
                <a:gd name="connsiteY216" fmla="*/ 1590125 h 2789415"/>
                <a:gd name="connsiteX217" fmla="*/ 8183812 w 12011405"/>
                <a:gd name="connsiteY217" fmla="*/ 1555151 h 2789415"/>
                <a:gd name="connsiteX218" fmla="*/ 8186737 w 12011405"/>
                <a:gd name="connsiteY218" fmla="*/ 1549789 h 2789415"/>
                <a:gd name="connsiteX219" fmla="*/ 8251139 w 12011405"/>
                <a:gd name="connsiteY219" fmla="*/ 1584763 h 2789415"/>
                <a:gd name="connsiteX220" fmla="*/ 5154396 w 12011405"/>
                <a:gd name="connsiteY220" fmla="*/ 1589211 h 2789415"/>
                <a:gd name="connsiteX221" fmla="*/ 5150374 w 12011405"/>
                <a:gd name="connsiteY221" fmla="*/ 1584580 h 2789415"/>
                <a:gd name="connsiteX222" fmla="*/ 5205698 w 12011405"/>
                <a:gd name="connsiteY222" fmla="*/ 1536568 h 2789415"/>
                <a:gd name="connsiteX223" fmla="*/ 5209659 w 12011405"/>
                <a:gd name="connsiteY223" fmla="*/ 1541198 h 2789415"/>
                <a:gd name="connsiteX224" fmla="*/ 5154396 w 12011405"/>
                <a:gd name="connsiteY224" fmla="*/ 1589272 h 2789415"/>
                <a:gd name="connsiteX225" fmla="*/ 1876387 w 12011405"/>
                <a:gd name="connsiteY225" fmla="*/ 1568129 h 2789415"/>
                <a:gd name="connsiteX226" fmla="*/ 1815823 w 12011405"/>
                <a:gd name="connsiteY226" fmla="*/ 1527428 h 2789415"/>
                <a:gd name="connsiteX227" fmla="*/ 1819052 w 12011405"/>
                <a:gd name="connsiteY227" fmla="*/ 1522249 h 2789415"/>
                <a:gd name="connsiteX228" fmla="*/ 1879981 w 12011405"/>
                <a:gd name="connsiteY228" fmla="*/ 1563194 h 2789415"/>
                <a:gd name="connsiteX229" fmla="*/ 8119715 w 12011405"/>
                <a:gd name="connsiteY229" fmla="*/ 1520056 h 2789415"/>
                <a:gd name="connsiteX230" fmla="*/ 8055373 w 12011405"/>
                <a:gd name="connsiteY230" fmla="*/ 1484960 h 2789415"/>
                <a:gd name="connsiteX231" fmla="*/ 8058297 w 12011405"/>
                <a:gd name="connsiteY231" fmla="*/ 1479598 h 2789415"/>
                <a:gd name="connsiteX232" fmla="*/ 8122578 w 12011405"/>
                <a:gd name="connsiteY232" fmla="*/ 1514755 h 2789415"/>
                <a:gd name="connsiteX233" fmla="*/ 11003570 w 12011405"/>
                <a:gd name="connsiteY233" fmla="*/ 1510916 h 2789415"/>
                <a:gd name="connsiteX234" fmla="*/ 10999487 w 12011405"/>
                <a:gd name="connsiteY234" fmla="*/ 1506408 h 2789415"/>
                <a:gd name="connsiteX235" fmla="*/ 11053106 w 12011405"/>
                <a:gd name="connsiteY235" fmla="*/ 1456750 h 2789415"/>
                <a:gd name="connsiteX236" fmla="*/ 11057309 w 12011405"/>
                <a:gd name="connsiteY236" fmla="*/ 1461137 h 2789415"/>
                <a:gd name="connsiteX237" fmla="*/ 11003570 w 12011405"/>
                <a:gd name="connsiteY237" fmla="*/ 1510916 h 2789415"/>
                <a:gd name="connsiteX238" fmla="*/ 3473 w 12011405"/>
                <a:gd name="connsiteY238" fmla="*/ 1509393 h 2789415"/>
                <a:gd name="connsiteX239" fmla="*/ 0 w 12011405"/>
                <a:gd name="connsiteY239" fmla="*/ 1504336 h 2789415"/>
                <a:gd name="connsiteX240" fmla="*/ 62027 w 12011405"/>
                <a:gd name="connsiteY240" fmla="*/ 1464915 h 2789415"/>
                <a:gd name="connsiteX241" fmla="*/ 65134 w 12011405"/>
                <a:gd name="connsiteY241" fmla="*/ 1470154 h 2789415"/>
                <a:gd name="connsiteX242" fmla="*/ 3473 w 12011405"/>
                <a:gd name="connsiteY242" fmla="*/ 1509393 h 2789415"/>
                <a:gd name="connsiteX243" fmla="*/ 5265166 w 12011405"/>
                <a:gd name="connsiteY243" fmla="*/ 1493552 h 2789415"/>
                <a:gd name="connsiteX244" fmla="*/ 5261205 w 12011405"/>
                <a:gd name="connsiteY244" fmla="*/ 1488921 h 2789415"/>
                <a:gd name="connsiteX245" fmla="*/ 5317139 w 12011405"/>
                <a:gd name="connsiteY245" fmla="*/ 1441518 h 2789415"/>
                <a:gd name="connsiteX246" fmla="*/ 5321038 w 12011405"/>
                <a:gd name="connsiteY246" fmla="*/ 1446209 h 2789415"/>
                <a:gd name="connsiteX247" fmla="*/ 5265166 w 12011405"/>
                <a:gd name="connsiteY247" fmla="*/ 1493552 h 2789415"/>
                <a:gd name="connsiteX248" fmla="*/ 1752212 w 12011405"/>
                <a:gd name="connsiteY248" fmla="*/ 1491541 h 2789415"/>
                <a:gd name="connsiteX249" fmla="*/ 1698716 w 12011405"/>
                <a:gd name="connsiteY249" fmla="*/ 1466377 h 2789415"/>
                <a:gd name="connsiteX250" fmla="*/ 1686104 w 12011405"/>
                <a:gd name="connsiteY250" fmla="*/ 1461076 h 2789415"/>
                <a:gd name="connsiteX251" fmla="*/ 1688480 w 12011405"/>
                <a:gd name="connsiteY251" fmla="*/ 1455471 h 2789415"/>
                <a:gd name="connsiteX252" fmla="*/ 1701092 w 12011405"/>
                <a:gd name="connsiteY252" fmla="*/ 1460771 h 2789415"/>
                <a:gd name="connsiteX253" fmla="*/ 1755015 w 12011405"/>
                <a:gd name="connsiteY253" fmla="*/ 1486118 h 2789415"/>
                <a:gd name="connsiteX254" fmla="*/ 7991031 w 12011405"/>
                <a:gd name="connsiteY254" fmla="*/ 1449987 h 2789415"/>
                <a:gd name="connsiteX255" fmla="*/ 7926812 w 12011405"/>
                <a:gd name="connsiteY255" fmla="*/ 1415013 h 2789415"/>
                <a:gd name="connsiteX256" fmla="*/ 7929675 w 12011405"/>
                <a:gd name="connsiteY256" fmla="*/ 1409651 h 2789415"/>
                <a:gd name="connsiteX257" fmla="*/ 7993956 w 12011405"/>
                <a:gd name="connsiteY257" fmla="*/ 1444625 h 2789415"/>
                <a:gd name="connsiteX258" fmla="*/ 129049 w 12011405"/>
                <a:gd name="connsiteY258" fmla="*/ 1434754 h 2789415"/>
                <a:gd name="connsiteX259" fmla="*/ 126246 w 12011405"/>
                <a:gd name="connsiteY259" fmla="*/ 1429332 h 2789415"/>
                <a:gd name="connsiteX260" fmla="*/ 192355 w 12011405"/>
                <a:gd name="connsiteY260" fmla="*/ 1397405 h 2789415"/>
                <a:gd name="connsiteX261" fmla="*/ 194853 w 12011405"/>
                <a:gd name="connsiteY261" fmla="*/ 1403010 h 2789415"/>
                <a:gd name="connsiteX262" fmla="*/ 129049 w 12011405"/>
                <a:gd name="connsiteY262" fmla="*/ 1434754 h 2789415"/>
                <a:gd name="connsiteX263" fmla="*/ 1618350 w 12011405"/>
                <a:gd name="connsiteY263" fmla="*/ 1433536 h 2789415"/>
                <a:gd name="connsiteX264" fmla="*/ 1549865 w 12011405"/>
                <a:gd name="connsiteY264" fmla="*/ 1407823 h 2789415"/>
                <a:gd name="connsiteX265" fmla="*/ 1551937 w 12011405"/>
                <a:gd name="connsiteY265" fmla="*/ 1402096 h 2789415"/>
                <a:gd name="connsiteX266" fmla="*/ 1620543 w 12011405"/>
                <a:gd name="connsiteY266" fmla="*/ 1427869 h 2789415"/>
                <a:gd name="connsiteX267" fmla="*/ 11109343 w 12011405"/>
                <a:gd name="connsiteY267" fmla="*/ 1409773 h 2789415"/>
                <a:gd name="connsiteX268" fmla="*/ 11105018 w 12011405"/>
                <a:gd name="connsiteY268" fmla="*/ 1405508 h 2789415"/>
                <a:gd name="connsiteX269" fmla="*/ 11155102 w 12011405"/>
                <a:gd name="connsiteY269" fmla="*/ 1352378 h 2789415"/>
                <a:gd name="connsiteX270" fmla="*/ 11159610 w 12011405"/>
                <a:gd name="connsiteY270" fmla="*/ 1356460 h 2789415"/>
                <a:gd name="connsiteX271" fmla="*/ 11109343 w 12011405"/>
                <a:gd name="connsiteY271" fmla="*/ 1409773 h 2789415"/>
                <a:gd name="connsiteX272" fmla="*/ 5377276 w 12011405"/>
                <a:gd name="connsiteY272" fmla="*/ 1399415 h 2789415"/>
                <a:gd name="connsiteX273" fmla="*/ 5373437 w 12011405"/>
                <a:gd name="connsiteY273" fmla="*/ 1394724 h 2789415"/>
                <a:gd name="connsiteX274" fmla="*/ 5430284 w 12011405"/>
                <a:gd name="connsiteY274" fmla="*/ 1348539 h 2789415"/>
                <a:gd name="connsiteX275" fmla="*/ 5434123 w 12011405"/>
                <a:gd name="connsiteY275" fmla="*/ 1353292 h 2789415"/>
                <a:gd name="connsiteX276" fmla="*/ 5377276 w 12011405"/>
                <a:gd name="connsiteY276" fmla="*/ 1399415 h 2789415"/>
                <a:gd name="connsiteX277" fmla="*/ 1480710 w 12011405"/>
                <a:gd name="connsiteY277" fmla="*/ 1383939 h 2789415"/>
                <a:gd name="connsiteX278" fmla="*/ 1410885 w 12011405"/>
                <a:gd name="connsiteY278" fmla="*/ 1362126 h 2789415"/>
                <a:gd name="connsiteX279" fmla="*/ 1412652 w 12011405"/>
                <a:gd name="connsiteY279" fmla="*/ 1356033 h 2789415"/>
                <a:gd name="connsiteX280" fmla="*/ 1482599 w 12011405"/>
                <a:gd name="connsiteY280" fmla="*/ 1377907 h 2789415"/>
                <a:gd name="connsiteX281" fmla="*/ 7862470 w 12011405"/>
                <a:gd name="connsiteY281" fmla="*/ 1380040 h 2789415"/>
                <a:gd name="connsiteX282" fmla="*/ 7798128 w 12011405"/>
                <a:gd name="connsiteY282" fmla="*/ 1345553 h 2789415"/>
                <a:gd name="connsiteX283" fmla="*/ 7800992 w 12011405"/>
                <a:gd name="connsiteY283" fmla="*/ 1340131 h 2789415"/>
                <a:gd name="connsiteX284" fmla="*/ 7865394 w 12011405"/>
                <a:gd name="connsiteY284" fmla="*/ 1374678 h 2789415"/>
                <a:gd name="connsiteX285" fmla="*/ 262485 w 12011405"/>
                <a:gd name="connsiteY285" fmla="*/ 1374800 h 2789415"/>
                <a:gd name="connsiteX286" fmla="*/ 260291 w 12011405"/>
                <a:gd name="connsiteY286" fmla="*/ 1369072 h 2789415"/>
                <a:gd name="connsiteX287" fmla="*/ 329386 w 12011405"/>
                <a:gd name="connsiteY287" fmla="*/ 1344335 h 2789415"/>
                <a:gd name="connsiteX288" fmla="*/ 331274 w 12011405"/>
                <a:gd name="connsiteY288" fmla="*/ 1350123 h 2789415"/>
                <a:gd name="connsiteX289" fmla="*/ 262485 w 12011405"/>
                <a:gd name="connsiteY289" fmla="*/ 1374800 h 2789415"/>
                <a:gd name="connsiteX290" fmla="*/ 1340938 w 12011405"/>
                <a:gd name="connsiteY290" fmla="*/ 1342324 h 2789415"/>
                <a:gd name="connsiteX291" fmla="*/ 1269955 w 12011405"/>
                <a:gd name="connsiteY291" fmla="*/ 1324777 h 2789415"/>
                <a:gd name="connsiteX292" fmla="*/ 1271295 w 12011405"/>
                <a:gd name="connsiteY292" fmla="*/ 1318684 h 2789415"/>
                <a:gd name="connsiteX293" fmla="*/ 1342522 w 12011405"/>
                <a:gd name="connsiteY293" fmla="*/ 1336231 h 2789415"/>
                <a:gd name="connsiteX294" fmla="*/ 401526 w 12011405"/>
                <a:gd name="connsiteY294" fmla="*/ 1328920 h 2789415"/>
                <a:gd name="connsiteX295" fmla="*/ 399942 w 12011405"/>
                <a:gd name="connsiteY295" fmla="*/ 1322827 h 2789415"/>
                <a:gd name="connsiteX296" fmla="*/ 471108 w 12011405"/>
                <a:gd name="connsiteY296" fmla="*/ 1305035 h 2789415"/>
                <a:gd name="connsiteX297" fmla="*/ 472448 w 12011405"/>
                <a:gd name="connsiteY297" fmla="*/ 1311128 h 2789415"/>
                <a:gd name="connsiteX298" fmla="*/ 401039 w 12011405"/>
                <a:gd name="connsiteY298" fmla="*/ 1328920 h 2789415"/>
                <a:gd name="connsiteX299" fmla="*/ 7733847 w 12011405"/>
                <a:gd name="connsiteY299" fmla="*/ 1311311 h 2789415"/>
                <a:gd name="connsiteX300" fmla="*/ 7668775 w 12011405"/>
                <a:gd name="connsiteY300" fmla="*/ 1277617 h 2789415"/>
                <a:gd name="connsiteX301" fmla="*/ 7671578 w 12011405"/>
                <a:gd name="connsiteY301" fmla="*/ 1272194 h 2789415"/>
                <a:gd name="connsiteX302" fmla="*/ 7736650 w 12011405"/>
                <a:gd name="connsiteY302" fmla="*/ 1305949 h 2789415"/>
                <a:gd name="connsiteX303" fmla="*/ 1197936 w 12011405"/>
                <a:gd name="connsiteY303" fmla="*/ 1309849 h 2789415"/>
                <a:gd name="connsiteX304" fmla="*/ 1125917 w 12011405"/>
                <a:gd name="connsiteY304" fmla="*/ 1297115 h 2789415"/>
                <a:gd name="connsiteX305" fmla="*/ 1126892 w 12011405"/>
                <a:gd name="connsiteY305" fmla="*/ 1291022 h 2789415"/>
                <a:gd name="connsiteX306" fmla="*/ 1199094 w 12011405"/>
                <a:gd name="connsiteY306" fmla="*/ 1303817 h 2789415"/>
                <a:gd name="connsiteX307" fmla="*/ 5491580 w 12011405"/>
                <a:gd name="connsiteY307" fmla="*/ 1308326 h 2789415"/>
                <a:gd name="connsiteX308" fmla="*/ 5487863 w 12011405"/>
                <a:gd name="connsiteY308" fmla="*/ 1303512 h 2789415"/>
                <a:gd name="connsiteX309" fmla="*/ 5546234 w 12011405"/>
                <a:gd name="connsiteY309" fmla="*/ 1259216 h 2789415"/>
                <a:gd name="connsiteX310" fmla="*/ 5549889 w 12011405"/>
                <a:gd name="connsiteY310" fmla="*/ 1264152 h 2789415"/>
                <a:gd name="connsiteX311" fmla="*/ 5491580 w 12011405"/>
                <a:gd name="connsiteY311" fmla="*/ 1308021 h 2789415"/>
                <a:gd name="connsiteX312" fmla="*/ 11207928 w 12011405"/>
                <a:gd name="connsiteY312" fmla="*/ 1301745 h 2789415"/>
                <a:gd name="connsiteX313" fmla="*/ 11203297 w 12011405"/>
                <a:gd name="connsiteY313" fmla="*/ 1297785 h 2789415"/>
                <a:gd name="connsiteX314" fmla="*/ 11249420 w 12011405"/>
                <a:gd name="connsiteY314" fmla="*/ 1241181 h 2789415"/>
                <a:gd name="connsiteX315" fmla="*/ 11254234 w 12011405"/>
                <a:gd name="connsiteY315" fmla="*/ 1244959 h 2789415"/>
                <a:gd name="connsiteX316" fmla="*/ 11207928 w 12011405"/>
                <a:gd name="connsiteY316" fmla="*/ 1301441 h 2789415"/>
                <a:gd name="connsiteX317" fmla="*/ 543675 w 12011405"/>
                <a:gd name="connsiteY317" fmla="*/ 1297236 h 2789415"/>
                <a:gd name="connsiteX318" fmla="*/ 542578 w 12011405"/>
                <a:gd name="connsiteY318" fmla="*/ 1291143 h 2789415"/>
                <a:gd name="connsiteX319" fmla="*/ 615145 w 12011405"/>
                <a:gd name="connsiteY319" fmla="*/ 1280176 h 2789415"/>
                <a:gd name="connsiteX320" fmla="*/ 615937 w 12011405"/>
                <a:gd name="connsiteY320" fmla="*/ 1286269 h 2789415"/>
                <a:gd name="connsiteX321" fmla="*/ 543675 w 12011405"/>
                <a:gd name="connsiteY321" fmla="*/ 1296932 h 2789415"/>
                <a:gd name="connsiteX322" fmla="*/ 1053472 w 12011405"/>
                <a:gd name="connsiteY322" fmla="*/ 1286879 h 2789415"/>
                <a:gd name="connsiteX323" fmla="*/ 980722 w 12011405"/>
                <a:gd name="connsiteY323" fmla="*/ 1279384 h 2789415"/>
                <a:gd name="connsiteX324" fmla="*/ 981271 w 12011405"/>
                <a:gd name="connsiteY324" fmla="*/ 1273291 h 2789415"/>
                <a:gd name="connsiteX325" fmla="*/ 1054386 w 12011405"/>
                <a:gd name="connsiteY325" fmla="*/ 1280786 h 2789415"/>
                <a:gd name="connsiteX326" fmla="*/ 688626 w 12011405"/>
                <a:gd name="connsiteY326" fmla="*/ 1278653 h 2789415"/>
                <a:gd name="connsiteX327" fmla="*/ 688139 w 12011405"/>
                <a:gd name="connsiteY327" fmla="*/ 1272560 h 2789415"/>
                <a:gd name="connsiteX328" fmla="*/ 761254 w 12011405"/>
                <a:gd name="connsiteY328" fmla="*/ 1268173 h 2789415"/>
                <a:gd name="connsiteX329" fmla="*/ 761254 w 12011405"/>
                <a:gd name="connsiteY329" fmla="*/ 1274266 h 2789415"/>
                <a:gd name="connsiteX330" fmla="*/ 688626 w 12011405"/>
                <a:gd name="connsiteY330" fmla="*/ 1278348 h 2789415"/>
                <a:gd name="connsiteX331" fmla="*/ 907972 w 12011405"/>
                <a:gd name="connsiteY331" fmla="*/ 1274693 h 2789415"/>
                <a:gd name="connsiteX332" fmla="*/ 834857 w 12011405"/>
                <a:gd name="connsiteY332" fmla="*/ 1272987 h 2789415"/>
                <a:gd name="connsiteX333" fmla="*/ 834857 w 12011405"/>
                <a:gd name="connsiteY333" fmla="*/ 1266894 h 2789415"/>
                <a:gd name="connsiteX334" fmla="*/ 907972 w 12011405"/>
                <a:gd name="connsiteY334" fmla="*/ 1268660 h 2789415"/>
                <a:gd name="connsiteX335" fmla="*/ 7603154 w 12011405"/>
                <a:gd name="connsiteY335" fmla="*/ 1244837 h 2789415"/>
                <a:gd name="connsiteX336" fmla="*/ 7537472 w 12011405"/>
                <a:gd name="connsiteY336" fmla="*/ 1212423 h 2789415"/>
                <a:gd name="connsiteX337" fmla="*/ 7540152 w 12011405"/>
                <a:gd name="connsiteY337" fmla="*/ 1206939 h 2789415"/>
                <a:gd name="connsiteX338" fmla="*/ 7605895 w 12011405"/>
                <a:gd name="connsiteY338" fmla="*/ 1239353 h 2789415"/>
                <a:gd name="connsiteX339" fmla="*/ 5609052 w 12011405"/>
                <a:gd name="connsiteY339" fmla="*/ 1220892 h 2789415"/>
                <a:gd name="connsiteX340" fmla="*/ 5605518 w 12011405"/>
                <a:gd name="connsiteY340" fmla="*/ 1215956 h 2789415"/>
                <a:gd name="connsiteX341" fmla="*/ 5665960 w 12011405"/>
                <a:gd name="connsiteY341" fmla="*/ 1174463 h 2789415"/>
                <a:gd name="connsiteX342" fmla="*/ 5669311 w 12011405"/>
                <a:gd name="connsiteY342" fmla="*/ 1179521 h 2789415"/>
                <a:gd name="connsiteX343" fmla="*/ 5609052 w 12011405"/>
                <a:gd name="connsiteY343" fmla="*/ 1220892 h 2789415"/>
                <a:gd name="connsiteX344" fmla="*/ 11298347 w 12011405"/>
                <a:gd name="connsiteY344" fmla="*/ 1186162 h 2789415"/>
                <a:gd name="connsiteX345" fmla="*/ 11293472 w 12011405"/>
                <a:gd name="connsiteY345" fmla="*/ 1182628 h 2789415"/>
                <a:gd name="connsiteX346" fmla="*/ 11335331 w 12011405"/>
                <a:gd name="connsiteY346" fmla="*/ 1122734 h 2789415"/>
                <a:gd name="connsiteX347" fmla="*/ 11340388 w 12011405"/>
                <a:gd name="connsiteY347" fmla="*/ 1126146 h 2789415"/>
                <a:gd name="connsiteX348" fmla="*/ 11298347 w 12011405"/>
                <a:gd name="connsiteY348" fmla="*/ 1186162 h 2789415"/>
                <a:gd name="connsiteX349" fmla="*/ 7471180 w 12011405"/>
                <a:gd name="connsiteY349" fmla="*/ 1180556 h 2789415"/>
                <a:gd name="connsiteX350" fmla="*/ 7404706 w 12011405"/>
                <a:gd name="connsiteY350" fmla="*/ 1150092 h 2789415"/>
                <a:gd name="connsiteX351" fmla="*/ 7407204 w 12011405"/>
                <a:gd name="connsiteY351" fmla="*/ 1144547 h 2789415"/>
                <a:gd name="connsiteX352" fmla="*/ 7473801 w 12011405"/>
                <a:gd name="connsiteY352" fmla="*/ 1175012 h 2789415"/>
                <a:gd name="connsiteX353" fmla="*/ 5730789 w 12011405"/>
                <a:gd name="connsiteY353" fmla="*/ 1140038 h 2789415"/>
                <a:gd name="connsiteX354" fmla="*/ 5727560 w 12011405"/>
                <a:gd name="connsiteY354" fmla="*/ 1134859 h 2789415"/>
                <a:gd name="connsiteX355" fmla="*/ 5790561 w 12011405"/>
                <a:gd name="connsiteY355" fmla="*/ 1097388 h 2789415"/>
                <a:gd name="connsiteX356" fmla="*/ 5793547 w 12011405"/>
                <a:gd name="connsiteY356" fmla="*/ 1102688 h 2789415"/>
                <a:gd name="connsiteX357" fmla="*/ 5730789 w 12011405"/>
                <a:gd name="connsiteY357" fmla="*/ 1140038 h 2789415"/>
                <a:gd name="connsiteX358" fmla="*/ 7337683 w 12011405"/>
                <a:gd name="connsiteY358" fmla="*/ 1120541 h 2789415"/>
                <a:gd name="connsiteX359" fmla="*/ 7270113 w 12011405"/>
                <a:gd name="connsiteY359" fmla="*/ 1092330 h 2789415"/>
                <a:gd name="connsiteX360" fmla="*/ 7272367 w 12011405"/>
                <a:gd name="connsiteY360" fmla="*/ 1086664 h 2789415"/>
                <a:gd name="connsiteX361" fmla="*/ 7340060 w 12011405"/>
                <a:gd name="connsiteY361" fmla="*/ 1114935 h 2789415"/>
                <a:gd name="connsiteX362" fmla="*/ 5857766 w 12011405"/>
                <a:gd name="connsiteY362" fmla="*/ 1067837 h 2789415"/>
                <a:gd name="connsiteX363" fmla="*/ 5854963 w 12011405"/>
                <a:gd name="connsiteY363" fmla="*/ 1062414 h 2789415"/>
                <a:gd name="connsiteX364" fmla="*/ 5920828 w 12011405"/>
                <a:gd name="connsiteY364" fmla="*/ 1030426 h 2789415"/>
                <a:gd name="connsiteX365" fmla="*/ 5923387 w 12011405"/>
                <a:gd name="connsiteY365" fmla="*/ 1035970 h 2789415"/>
                <a:gd name="connsiteX366" fmla="*/ 5857766 w 12011405"/>
                <a:gd name="connsiteY366" fmla="*/ 1067837 h 2789415"/>
                <a:gd name="connsiteX367" fmla="*/ 7201993 w 12011405"/>
                <a:gd name="connsiteY367" fmla="*/ 1065582 h 2789415"/>
                <a:gd name="connsiteX368" fmla="*/ 7133265 w 12011405"/>
                <a:gd name="connsiteY368" fmla="*/ 1040479 h 2789415"/>
                <a:gd name="connsiteX369" fmla="*/ 7135276 w 12011405"/>
                <a:gd name="connsiteY369" fmla="*/ 1034752 h 2789415"/>
                <a:gd name="connsiteX370" fmla="*/ 7204126 w 12011405"/>
                <a:gd name="connsiteY370" fmla="*/ 1059916 h 2789415"/>
                <a:gd name="connsiteX371" fmla="*/ 11380236 w 12011405"/>
                <a:gd name="connsiteY371" fmla="*/ 1064668 h 2789415"/>
                <a:gd name="connsiteX372" fmla="*/ 11375057 w 12011405"/>
                <a:gd name="connsiteY372" fmla="*/ 1061439 h 2789415"/>
                <a:gd name="connsiteX373" fmla="*/ 11412712 w 12011405"/>
                <a:gd name="connsiteY373" fmla="*/ 998864 h 2789415"/>
                <a:gd name="connsiteX374" fmla="*/ 11418013 w 12011405"/>
                <a:gd name="connsiteY374" fmla="*/ 1001911 h 2789415"/>
                <a:gd name="connsiteX375" fmla="*/ 11380236 w 12011405"/>
                <a:gd name="connsiteY375" fmla="*/ 1064668 h 2789415"/>
                <a:gd name="connsiteX376" fmla="*/ 7063866 w 12011405"/>
                <a:gd name="connsiteY376" fmla="*/ 1017387 h 2789415"/>
                <a:gd name="connsiteX377" fmla="*/ 6993859 w 12011405"/>
                <a:gd name="connsiteY377" fmla="*/ 996184 h 2789415"/>
                <a:gd name="connsiteX378" fmla="*/ 6995565 w 12011405"/>
                <a:gd name="connsiteY378" fmla="*/ 990091 h 2789415"/>
                <a:gd name="connsiteX379" fmla="*/ 7065755 w 12011405"/>
                <a:gd name="connsiteY379" fmla="*/ 1011355 h 2789415"/>
                <a:gd name="connsiteX380" fmla="*/ 5990471 w 12011405"/>
                <a:gd name="connsiteY380" fmla="*/ 1007273 h 2789415"/>
                <a:gd name="connsiteX381" fmla="*/ 5988277 w 12011405"/>
                <a:gd name="connsiteY381" fmla="*/ 1001606 h 2789415"/>
                <a:gd name="connsiteX382" fmla="*/ 6057067 w 12011405"/>
                <a:gd name="connsiteY382" fmla="*/ 976442 h 2789415"/>
                <a:gd name="connsiteX383" fmla="*/ 6059016 w 12011405"/>
                <a:gd name="connsiteY383" fmla="*/ 982535 h 2789415"/>
                <a:gd name="connsiteX384" fmla="*/ 5990471 w 12011405"/>
                <a:gd name="connsiteY384" fmla="*/ 1007273 h 2789415"/>
                <a:gd name="connsiteX385" fmla="*/ 6923241 w 12011405"/>
                <a:gd name="connsiteY385" fmla="*/ 976808 h 2789415"/>
                <a:gd name="connsiteX386" fmla="*/ 6906242 w 12011405"/>
                <a:gd name="connsiteY386" fmla="*/ 972665 h 2789415"/>
                <a:gd name="connsiteX387" fmla="*/ 6852014 w 12011405"/>
                <a:gd name="connsiteY387" fmla="*/ 960479 h 2789415"/>
                <a:gd name="connsiteX388" fmla="*/ 6853294 w 12011405"/>
                <a:gd name="connsiteY388" fmla="*/ 954386 h 2789415"/>
                <a:gd name="connsiteX389" fmla="*/ 6907704 w 12011405"/>
                <a:gd name="connsiteY389" fmla="*/ 966572 h 2789415"/>
                <a:gd name="connsiteX390" fmla="*/ 6924704 w 12011405"/>
                <a:gd name="connsiteY390" fmla="*/ 970715 h 2789415"/>
                <a:gd name="connsiteX391" fmla="*/ 6128781 w 12011405"/>
                <a:gd name="connsiteY391" fmla="*/ 960783 h 2789415"/>
                <a:gd name="connsiteX392" fmla="*/ 6127196 w 12011405"/>
                <a:gd name="connsiteY392" fmla="*/ 954691 h 2789415"/>
                <a:gd name="connsiteX393" fmla="*/ 6198362 w 12011405"/>
                <a:gd name="connsiteY393" fmla="*/ 937509 h 2789415"/>
                <a:gd name="connsiteX394" fmla="*/ 6199642 w 12011405"/>
                <a:gd name="connsiteY394" fmla="*/ 943601 h 2789415"/>
                <a:gd name="connsiteX395" fmla="*/ 6128781 w 12011405"/>
                <a:gd name="connsiteY395" fmla="*/ 961027 h 2789415"/>
                <a:gd name="connsiteX396" fmla="*/ 6780300 w 12011405"/>
                <a:gd name="connsiteY396" fmla="*/ 945917 h 2789415"/>
                <a:gd name="connsiteX397" fmla="*/ 6708099 w 12011405"/>
                <a:gd name="connsiteY397" fmla="*/ 934096 h 2789415"/>
                <a:gd name="connsiteX398" fmla="*/ 6709013 w 12011405"/>
                <a:gd name="connsiteY398" fmla="*/ 928003 h 2789415"/>
                <a:gd name="connsiteX399" fmla="*/ 6781397 w 12011405"/>
                <a:gd name="connsiteY399" fmla="*/ 939885 h 2789415"/>
                <a:gd name="connsiteX400" fmla="*/ 11453595 w 12011405"/>
                <a:gd name="connsiteY400" fmla="*/ 937691 h 2789415"/>
                <a:gd name="connsiteX401" fmla="*/ 11448233 w 12011405"/>
                <a:gd name="connsiteY401" fmla="*/ 934828 h 2789415"/>
                <a:gd name="connsiteX402" fmla="*/ 11482111 w 12011405"/>
                <a:gd name="connsiteY402" fmla="*/ 870059 h 2789415"/>
                <a:gd name="connsiteX403" fmla="*/ 11487533 w 12011405"/>
                <a:gd name="connsiteY403" fmla="*/ 872801 h 2789415"/>
                <a:gd name="connsiteX404" fmla="*/ 11453778 w 12011405"/>
                <a:gd name="connsiteY404" fmla="*/ 938179 h 2789415"/>
                <a:gd name="connsiteX405" fmla="*/ 6271234 w 12011405"/>
                <a:gd name="connsiteY405" fmla="*/ 930745 h 2789415"/>
                <a:gd name="connsiteX406" fmla="*/ 6270320 w 12011405"/>
                <a:gd name="connsiteY406" fmla="*/ 924652 h 2789415"/>
                <a:gd name="connsiteX407" fmla="*/ 6343009 w 12011405"/>
                <a:gd name="connsiteY407" fmla="*/ 915817 h 2789415"/>
                <a:gd name="connsiteX408" fmla="*/ 6343619 w 12011405"/>
                <a:gd name="connsiteY408" fmla="*/ 921910 h 2789415"/>
                <a:gd name="connsiteX409" fmla="*/ 6271417 w 12011405"/>
                <a:gd name="connsiteY409" fmla="*/ 930989 h 2789415"/>
                <a:gd name="connsiteX410" fmla="*/ 6635410 w 12011405"/>
                <a:gd name="connsiteY410" fmla="*/ 925018 h 2789415"/>
                <a:gd name="connsiteX411" fmla="*/ 6562294 w 12011405"/>
                <a:gd name="connsiteY411" fmla="*/ 918925 h 2789415"/>
                <a:gd name="connsiteX412" fmla="*/ 6562660 w 12011405"/>
                <a:gd name="connsiteY412" fmla="*/ 912832 h 2789415"/>
                <a:gd name="connsiteX413" fmla="*/ 6635776 w 12011405"/>
                <a:gd name="connsiteY413" fmla="*/ 918925 h 2789415"/>
                <a:gd name="connsiteX414" fmla="*/ 6416368 w 12011405"/>
                <a:gd name="connsiteY414" fmla="*/ 917402 h 2789415"/>
                <a:gd name="connsiteX415" fmla="*/ 6416368 w 12011405"/>
                <a:gd name="connsiteY415" fmla="*/ 911309 h 2789415"/>
                <a:gd name="connsiteX416" fmla="*/ 6470596 w 12011405"/>
                <a:gd name="connsiteY416" fmla="*/ 910273 h 2789415"/>
                <a:gd name="connsiteX417" fmla="*/ 6470596 w 12011405"/>
                <a:gd name="connsiteY417" fmla="*/ 910273 h 2789415"/>
                <a:gd name="connsiteX418" fmla="*/ 6489484 w 12011405"/>
                <a:gd name="connsiteY418" fmla="*/ 910273 h 2789415"/>
                <a:gd name="connsiteX419" fmla="*/ 6489484 w 12011405"/>
                <a:gd name="connsiteY419" fmla="*/ 916366 h 2789415"/>
                <a:gd name="connsiteX420" fmla="*/ 6470413 w 12011405"/>
                <a:gd name="connsiteY420" fmla="*/ 916366 h 2789415"/>
                <a:gd name="connsiteX421" fmla="*/ 6416368 w 12011405"/>
                <a:gd name="connsiteY421" fmla="*/ 917402 h 2789415"/>
                <a:gd name="connsiteX422" fmla="*/ 11519948 w 12011405"/>
                <a:gd name="connsiteY422" fmla="*/ 807363 h 2789415"/>
                <a:gd name="connsiteX423" fmla="*/ 11514464 w 12011405"/>
                <a:gd name="connsiteY423" fmla="*/ 804743 h 2789415"/>
                <a:gd name="connsiteX424" fmla="*/ 11545721 w 12011405"/>
                <a:gd name="connsiteY424" fmla="*/ 738573 h 2789415"/>
                <a:gd name="connsiteX425" fmla="*/ 11551205 w 12011405"/>
                <a:gd name="connsiteY425" fmla="*/ 741194 h 2789415"/>
                <a:gd name="connsiteX426" fmla="*/ 11520192 w 12011405"/>
                <a:gd name="connsiteY426" fmla="*/ 807363 h 2789415"/>
                <a:gd name="connsiteX427" fmla="*/ 11581730 w 12011405"/>
                <a:gd name="connsiteY427" fmla="*/ 674597 h 2789415"/>
                <a:gd name="connsiteX428" fmla="*/ 11576185 w 12011405"/>
                <a:gd name="connsiteY428" fmla="*/ 672099 h 2789415"/>
                <a:gd name="connsiteX429" fmla="*/ 11606650 w 12011405"/>
                <a:gd name="connsiteY429" fmla="*/ 605443 h 2789415"/>
                <a:gd name="connsiteX430" fmla="*/ 11612195 w 12011405"/>
                <a:gd name="connsiteY430" fmla="*/ 607940 h 2789415"/>
                <a:gd name="connsiteX431" fmla="*/ 11642660 w 12011405"/>
                <a:gd name="connsiteY431" fmla="*/ 541406 h 2789415"/>
                <a:gd name="connsiteX432" fmla="*/ 11637115 w 12011405"/>
                <a:gd name="connsiteY432" fmla="*/ 538846 h 2789415"/>
                <a:gd name="connsiteX433" fmla="*/ 11668433 w 12011405"/>
                <a:gd name="connsiteY433" fmla="*/ 472677 h 2789415"/>
                <a:gd name="connsiteX434" fmla="*/ 11673917 w 12011405"/>
                <a:gd name="connsiteY434" fmla="*/ 475297 h 2789415"/>
                <a:gd name="connsiteX435" fmla="*/ 11642721 w 12011405"/>
                <a:gd name="connsiteY435" fmla="*/ 541406 h 2789415"/>
                <a:gd name="connsiteX436" fmla="*/ 11706636 w 12011405"/>
                <a:gd name="connsiteY436" fmla="*/ 409798 h 2789415"/>
                <a:gd name="connsiteX437" fmla="*/ 11701213 w 12011405"/>
                <a:gd name="connsiteY437" fmla="*/ 407056 h 2789415"/>
                <a:gd name="connsiteX438" fmla="*/ 11735943 w 12011405"/>
                <a:gd name="connsiteY438" fmla="*/ 342531 h 2789415"/>
                <a:gd name="connsiteX439" fmla="*/ 11741304 w 12011405"/>
                <a:gd name="connsiteY439" fmla="*/ 345517 h 2789415"/>
                <a:gd name="connsiteX440" fmla="*/ 11706697 w 12011405"/>
                <a:gd name="connsiteY440" fmla="*/ 409798 h 2789415"/>
                <a:gd name="connsiteX441" fmla="*/ 11778167 w 12011405"/>
                <a:gd name="connsiteY441" fmla="*/ 282760 h 2789415"/>
                <a:gd name="connsiteX442" fmla="*/ 11772988 w 12011405"/>
                <a:gd name="connsiteY442" fmla="*/ 279530 h 2789415"/>
                <a:gd name="connsiteX443" fmla="*/ 11813202 w 12011405"/>
                <a:gd name="connsiteY443" fmla="*/ 218601 h 2789415"/>
                <a:gd name="connsiteX444" fmla="*/ 11818197 w 12011405"/>
                <a:gd name="connsiteY444" fmla="*/ 222074 h 2789415"/>
                <a:gd name="connsiteX445" fmla="*/ 11778167 w 12011405"/>
                <a:gd name="connsiteY445" fmla="*/ 282760 h 2789415"/>
                <a:gd name="connsiteX446" fmla="*/ 11861458 w 12011405"/>
                <a:gd name="connsiteY446" fmla="*/ 163155 h 2789415"/>
                <a:gd name="connsiteX447" fmla="*/ 11856705 w 12011405"/>
                <a:gd name="connsiteY447" fmla="*/ 159377 h 2789415"/>
                <a:gd name="connsiteX448" fmla="*/ 11903560 w 12011405"/>
                <a:gd name="connsiteY448" fmla="*/ 103078 h 2789415"/>
                <a:gd name="connsiteX449" fmla="*/ 11908129 w 12011405"/>
                <a:gd name="connsiteY449" fmla="*/ 107161 h 2789415"/>
                <a:gd name="connsiteX450" fmla="*/ 11861701 w 12011405"/>
                <a:gd name="connsiteY450" fmla="*/ 163155 h 2789415"/>
                <a:gd name="connsiteX451" fmla="*/ 11958153 w 12011405"/>
                <a:gd name="connsiteY451" fmla="*/ 54152 h 2789415"/>
                <a:gd name="connsiteX452" fmla="*/ 11953827 w 12011405"/>
                <a:gd name="connsiteY452" fmla="*/ 49826 h 2789415"/>
                <a:gd name="connsiteX453" fmla="*/ 12007384 w 12011405"/>
                <a:gd name="connsiteY453" fmla="*/ -197 h 2789415"/>
                <a:gd name="connsiteX454" fmla="*/ 12011405 w 12011405"/>
                <a:gd name="connsiteY454" fmla="*/ 4372 h 2789415"/>
                <a:gd name="connsiteX455" fmla="*/ 11958396 w 12011405"/>
                <a:gd name="connsiteY455" fmla="*/ 54152 h 278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Lst>
              <a:rect l="l" t="t" r="r" b="b"/>
              <a:pathLst>
                <a:path w="12011405" h="2789415">
                  <a:moveTo>
                    <a:pt x="3350638" y="2789218"/>
                  </a:moveTo>
                  <a:lnTo>
                    <a:pt x="3350333" y="2783125"/>
                  </a:lnTo>
                  <a:cubicBezTo>
                    <a:pt x="3374217" y="2782028"/>
                    <a:pt x="3398589" y="2779835"/>
                    <a:pt x="3422961" y="2776484"/>
                  </a:cubicBezTo>
                  <a:lnTo>
                    <a:pt x="3423814" y="2782577"/>
                  </a:lnTo>
                  <a:cubicBezTo>
                    <a:pt x="3399259" y="2785928"/>
                    <a:pt x="3374644" y="2788182"/>
                    <a:pt x="3350638" y="2789218"/>
                  </a:cubicBezTo>
                  <a:close/>
                  <a:moveTo>
                    <a:pt x="3277096" y="2789218"/>
                  </a:moveTo>
                  <a:cubicBezTo>
                    <a:pt x="3252608" y="2787860"/>
                    <a:pt x="3228206" y="2785258"/>
                    <a:pt x="3203980" y="2781419"/>
                  </a:cubicBezTo>
                  <a:lnTo>
                    <a:pt x="3204955" y="2775326"/>
                  </a:lnTo>
                  <a:cubicBezTo>
                    <a:pt x="3228894" y="2779140"/>
                    <a:pt x="3253016" y="2781718"/>
                    <a:pt x="3277217" y="2783064"/>
                  </a:cubicBezTo>
                  <a:close/>
                  <a:moveTo>
                    <a:pt x="3496077" y="2769904"/>
                  </a:moveTo>
                  <a:lnTo>
                    <a:pt x="3494797" y="2763811"/>
                  </a:lnTo>
                  <a:cubicBezTo>
                    <a:pt x="3517950" y="2758692"/>
                    <a:pt x="3541713" y="2752478"/>
                    <a:pt x="3565414" y="2745532"/>
                  </a:cubicBezTo>
                  <a:lnTo>
                    <a:pt x="3567120" y="2751625"/>
                  </a:lnTo>
                  <a:cubicBezTo>
                    <a:pt x="3543358" y="2758144"/>
                    <a:pt x="3519412" y="2764420"/>
                    <a:pt x="3496077" y="2769599"/>
                  </a:cubicBezTo>
                  <a:close/>
                  <a:moveTo>
                    <a:pt x="3132571" y="2766065"/>
                  </a:moveTo>
                  <a:cubicBezTo>
                    <a:pt x="3108967" y="2759698"/>
                    <a:pt x="3085704" y="2752130"/>
                    <a:pt x="3062867" y="2743399"/>
                  </a:cubicBezTo>
                  <a:lnTo>
                    <a:pt x="3065000" y="2737672"/>
                  </a:lnTo>
                  <a:cubicBezTo>
                    <a:pt x="3087660" y="2746275"/>
                    <a:pt x="3110740" y="2753715"/>
                    <a:pt x="3134155" y="2759972"/>
                  </a:cubicBezTo>
                  <a:close/>
                  <a:moveTo>
                    <a:pt x="3636702" y="2727923"/>
                  </a:moveTo>
                  <a:lnTo>
                    <a:pt x="3634630" y="2722257"/>
                  </a:lnTo>
                  <a:cubicBezTo>
                    <a:pt x="3656809" y="2713970"/>
                    <a:pt x="3679596" y="2704770"/>
                    <a:pt x="3702323" y="2694838"/>
                  </a:cubicBezTo>
                  <a:lnTo>
                    <a:pt x="3704760" y="2700444"/>
                  </a:lnTo>
                  <a:cubicBezTo>
                    <a:pt x="3681972" y="2710132"/>
                    <a:pt x="3659063" y="2719332"/>
                    <a:pt x="3636702" y="2727618"/>
                  </a:cubicBezTo>
                  <a:close/>
                  <a:moveTo>
                    <a:pt x="2995723" y="2713970"/>
                  </a:moveTo>
                  <a:cubicBezTo>
                    <a:pt x="2974337" y="2703429"/>
                    <a:pt x="2952707" y="2691548"/>
                    <a:pt x="2931442" y="2678692"/>
                  </a:cubicBezTo>
                  <a:lnTo>
                    <a:pt x="2934611" y="2673452"/>
                  </a:lnTo>
                  <a:cubicBezTo>
                    <a:pt x="2955692" y="2686247"/>
                    <a:pt x="2977261" y="2697824"/>
                    <a:pt x="2998404" y="2708547"/>
                  </a:cubicBezTo>
                  <a:close/>
                  <a:moveTo>
                    <a:pt x="3771295" y="2669370"/>
                  </a:moveTo>
                  <a:lnTo>
                    <a:pt x="3768553" y="2663947"/>
                  </a:lnTo>
                  <a:cubicBezTo>
                    <a:pt x="3789879" y="2653345"/>
                    <a:pt x="3811630" y="2641951"/>
                    <a:pt x="3833321" y="2629948"/>
                  </a:cubicBezTo>
                  <a:lnTo>
                    <a:pt x="3836246" y="2635310"/>
                  </a:lnTo>
                  <a:cubicBezTo>
                    <a:pt x="3814677" y="2647009"/>
                    <a:pt x="3792681" y="2658464"/>
                    <a:pt x="3771295" y="2669065"/>
                  </a:cubicBezTo>
                  <a:close/>
                  <a:moveTo>
                    <a:pt x="2870269" y="2638113"/>
                  </a:moveTo>
                  <a:cubicBezTo>
                    <a:pt x="2850954" y="2624404"/>
                    <a:pt x="2831335" y="2609415"/>
                    <a:pt x="2811899" y="2593634"/>
                  </a:cubicBezTo>
                  <a:lnTo>
                    <a:pt x="2815737" y="2588882"/>
                  </a:lnTo>
                  <a:cubicBezTo>
                    <a:pt x="2835052" y="2604602"/>
                    <a:pt x="2854610" y="2619346"/>
                    <a:pt x="2873803" y="2633178"/>
                  </a:cubicBezTo>
                  <a:close/>
                  <a:moveTo>
                    <a:pt x="3899978" y="2598448"/>
                  </a:moveTo>
                  <a:lnTo>
                    <a:pt x="3896871" y="2593208"/>
                  </a:lnTo>
                  <a:cubicBezTo>
                    <a:pt x="3917282" y="2581022"/>
                    <a:pt x="3938120" y="2567861"/>
                    <a:pt x="3958836" y="2554396"/>
                  </a:cubicBezTo>
                  <a:lnTo>
                    <a:pt x="3962187" y="2559514"/>
                  </a:lnTo>
                  <a:cubicBezTo>
                    <a:pt x="3941167" y="2572918"/>
                    <a:pt x="3920268" y="2586018"/>
                    <a:pt x="3899978" y="2598326"/>
                  </a:cubicBezTo>
                  <a:close/>
                  <a:moveTo>
                    <a:pt x="2756514" y="2545744"/>
                  </a:moveTo>
                  <a:cubicBezTo>
                    <a:pt x="2739027" y="2529902"/>
                    <a:pt x="2721175" y="2512903"/>
                    <a:pt x="2703322" y="2495172"/>
                  </a:cubicBezTo>
                  <a:lnTo>
                    <a:pt x="2707587" y="2490846"/>
                  </a:lnTo>
                  <a:cubicBezTo>
                    <a:pt x="2725379" y="2508516"/>
                    <a:pt x="2743231" y="2525454"/>
                    <a:pt x="2760596" y="2541235"/>
                  </a:cubicBezTo>
                  <a:close/>
                  <a:moveTo>
                    <a:pt x="4023056" y="2518691"/>
                  </a:moveTo>
                  <a:lnTo>
                    <a:pt x="4019583" y="2513634"/>
                  </a:lnTo>
                  <a:cubicBezTo>
                    <a:pt x="4039263" y="2500047"/>
                    <a:pt x="4059248" y="2485728"/>
                    <a:pt x="4079111" y="2470983"/>
                  </a:cubicBezTo>
                  <a:lnTo>
                    <a:pt x="4082706" y="2475918"/>
                  </a:lnTo>
                  <a:cubicBezTo>
                    <a:pt x="4062599" y="2490602"/>
                    <a:pt x="4042493" y="2504921"/>
                    <a:pt x="4022812" y="2518569"/>
                  </a:cubicBezTo>
                  <a:close/>
                  <a:moveTo>
                    <a:pt x="2652141" y="2442468"/>
                  </a:moveTo>
                  <a:cubicBezTo>
                    <a:pt x="2636117" y="2425286"/>
                    <a:pt x="2619544" y="2407007"/>
                    <a:pt x="2602849" y="2388119"/>
                  </a:cubicBezTo>
                  <a:lnTo>
                    <a:pt x="2607419" y="2384098"/>
                  </a:lnTo>
                  <a:cubicBezTo>
                    <a:pt x="2624053" y="2402925"/>
                    <a:pt x="2640565" y="2421204"/>
                    <a:pt x="2656589" y="2438325"/>
                  </a:cubicBezTo>
                  <a:close/>
                  <a:moveTo>
                    <a:pt x="4141442" y="2432415"/>
                  </a:moveTo>
                  <a:lnTo>
                    <a:pt x="4137786" y="2427540"/>
                  </a:lnTo>
                  <a:cubicBezTo>
                    <a:pt x="4157528" y="2412796"/>
                    <a:pt x="4177006" y="2398111"/>
                    <a:pt x="4196218" y="2383488"/>
                  </a:cubicBezTo>
                  <a:lnTo>
                    <a:pt x="4199934" y="2388302"/>
                  </a:lnTo>
                  <a:cubicBezTo>
                    <a:pt x="4180601" y="2402925"/>
                    <a:pt x="4161061" y="2417591"/>
                    <a:pt x="4141320" y="2432293"/>
                  </a:cubicBezTo>
                  <a:close/>
                  <a:moveTo>
                    <a:pt x="4258122" y="2343823"/>
                  </a:moveTo>
                  <a:lnTo>
                    <a:pt x="4254405" y="2339010"/>
                  </a:lnTo>
                  <a:cubicBezTo>
                    <a:pt x="4273903" y="2323942"/>
                    <a:pt x="4293175" y="2308971"/>
                    <a:pt x="4312227" y="2294105"/>
                  </a:cubicBezTo>
                  <a:lnTo>
                    <a:pt x="4315944" y="2298857"/>
                  </a:lnTo>
                  <a:cubicBezTo>
                    <a:pt x="4296812" y="2313803"/>
                    <a:pt x="4277498" y="2328755"/>
                    <a:pt x="4258000" y="2343701"/>
                  </a:cubicBezTo>
                  <a:close/>
                  <a:moveTo>
                    <a:pt x="2555020" y="2332429"/>
                  </a:moveTo>
                  <a:cubicBezTo>
                    <a:pt x="2539970" y="2314516"/>
                    <a:pt x="2524555" y="2295872"/>
                    <a:pt x="2508348" y="2275887"/>
                  </a:cubicBezTo>
                  <a:lnTo>
                    <a:pt x="2513100" y="2272048"/>
                  </a:lnTo>
                  <a:cubicBezTo>
                    <a:pt x="2529429" y="2292155"/>
                    <a:pt x="2544662" y="2310678"/>
                    <a:pt x="2559711" y="2328530"/>
                  </a:cubicBezTo>
                  <a:close/>
                  <a:moveTo>
                    <a:pt x="4373401" y="2253465"/>
                  </a:moveTo>
                  <a:lnTo>
                    <a:pt x="4369623" y="2248651"/>
                  </a:lnTo>
                  <a:cubicBezTo>
                    <a:pt x="4388938" y="2233358"/>
                    <a:pt x="4407948" y="2218187"/>
                    <a:pt x="4426836" y="2202954"/>
                  </a:cubicBezTo>
                  <a:lnTo>
                    <a:pt x="4430614" y="2207707"/>
                  </a:lnTo>
                  <a:cubicBezTo>
                    <a:pt x="4411805" y="2222897"/>
                    <a:pt x="4392734" y="2238153"/>
                    <a:pt x="4373401" y="2253465"/>
                  </a:cubicBezTo>
                  <a:close/>
                  <a:moveTo>
                    <a:pt x="2462407" y="2218491"/>
                  </a:moveTo>
                  <a:cubicBezTo>
                    <a:pt x="2447296" y="2199359"/>
                    <a:pt x="2432204" y="2180124"/>
                    <a:pt x="2417136" y="2160791"/>
                  </a:cubicBezTo>
                  <a:lnTo>
                    <a:pt x="2421950" y="2157074"/>
                  </a:lnTo>
                  <a:cubicBezTo>
                    <a:pt x="2436981" y="2176328"/>
                    <a:pt x="2452067" y="2195539"/>
                    <a:pt x="2467220" y="2214714"/>
                  </a:cubicBezTo>
                  <a:close/>
                  <a:moveTo>
                    <a:pt x="4487583" y="2161644"/>
                  </a:moveTo>
                  <a:lnTo>
                    <a:pt x="4483744" y="2156952"/>
                  </a:lnTo>
                  <a:cubicBezTo>
                    <a:pt x="4502833" y="2141354"/>
                    <a:pt x="4521703" y="2125878"/>
                    <a:pt x="4540348" y="2110524"/>
                  </a:cubicBezTo>
                  <a:lnTo>
                    <a:pt x="4544247" y="2115216"/>
                  </a:lnTo>
                  <a:cubicBezTo>
                    <a:pt x="4525542" y="2130631"/>
                    <a:pt x="4506715" y="2146107"/>
                    <a:pt x="4487583" y="2161644"/>
                  </a:cubicBezTo>
                  <a:close/>
                  <a:moveTo>
                    <a:pt x="2372109" y="2102786"/>
                  </a:moveTo>
                  <a:cubicBezTo>
                    <a:pt x="2357121" y="2083490"/>
                    <a:pt x="2342114" y="2064199"/>
                    <a:pt x="2327082" y="2044903"/>
                  </a:cubicBezTo>
                  <a:lnTo>
                    <a:pt x="2331896" y="2041186"/>
                  </a:lnTo>
                  <a:cubicBezTo>
                    <a:pt x="2346964" y="2060440"/>
                    <a:pt x="2361977" y="2079736"/>
                    <a:pt x="2376923" y="2099069"/>
                  </a:cubicBezTo>
                  <a:close/>
                  <a:moveTo>
                    <a:pt x="9716555" y="2084812"/>
                  </a:moveTo>
                  <a:lnTo>
                    <a:pt x="9691391" y="2084812"/>
                  </a:lnTo>
                  <a:lnTo>
                    <a:pt x="9691391" y="2078719"/>
                  </a:lnTo>
                  <a:cubicBezTo>
                    <a:pt x="9715763" y="2079084"/>
                    <a:pt x="9740135" y="2078719"/>
                    <a:pt x="9764507" y="2078170"/>
                  </a:cubicBezTo>
                  <a:lnTo>
                    <a:pt x="9764507" y="2084263"/>
                  </a:lnTo>
                  <a:cubicBezTo>
                    <a:pt x="9748787" y="2084568"/>
                    <a:pt x="9732580" y="2084812"/>
                    <a:pt x="9716555" y="2084812"/>
                  </a:cubicBezTo>
                  <a:close/>
                  <a:moveTo>
                    <a:pt x="9618093" y="2081826"/>
                  </a:moveTo>
                  <a:cubicBezTo>
                    <a:pt x="9593721" y="2080364"/>
                    <a:pt x="9569349" y="2078353"/>
                    <a:pt x="9544978" y="2075733"/>
                  </a:cubicBezTo>
                  <a:lnTo>
                    <a:pt x="9545587" y="2069640"/>
                  </a:lnTo>
                  <a:cubicBezTo>
                    <a:pt x="9569959" y="2072138"/>
                    <a:pt x="9594330" y="2074149"/>
                    <a:pt x="9618702" y="2075733"/>
                  </a:cubicBezTo>
                  <a:close/>
                  <a:moveTo>
                    <a:pt x="9838049" y="2080059"/>
                  </a:moveTo>
                  <a:lnTo>
                    <a:pt x="9837561" y="2073966"/>
                  </a:lnTo>
                  <a:cubicBezTo>
                    <a:pt x="9861933" y="2072017"/>
                    <a:pt x="9886305" y="2069518"/>
                    <a:pt x="9910251" y="2066472"/>
                  </a:cubicBezTo>
                  <a:lnTo>
                    <a:pt x="9910982" y="2072565"/>
                  </a:lnTo>
                  <a:cubicBezTo>
                    <a:pt x="9886853" y="2075672"/>
                    <a:pt x="9862359" y="2078170"/>
                    <a:pt x="9838049" y="2080059"/>
                  </a:cubicBezTo>
                  <a:close/>
                  <a:moveTo>
                    <a:pt x="4600668" y="2068422"/>
                  </a:moveTo>
                  <a:lnTo>
                    <a:pt x="4596768" y="2063791"/>
                  </a:lnTo>
                  <a:cubicBezTo>
                    <a:pt x="4615657" y="2047949"/>
                    <a:pt x="4634344" y="2032248"/>
                    <a:pt x="4652824" y="2016693"/>
                  </a:cubicBezTo>
                  <a:lnTo>
                    <a:pt x="4656784" y="2021384"/>
                  </a:lnTo>
                  <a:cubicBezTo>
                    <a:pt x="4638200" y="2036921"/>
                    <a:pt x="4619556" y="2052641"/>
                    <a:pt x="4600668" y="2068422"/>
                  </a:cubicBezTo>
                  <a:close/>
                  <a:moveTo>
                    <a:pt x="9472289" y="2066837"/>
                  </a:moveTo>
                  <a:cubicBezTo>
                    <a:pt x="9448343" y="2063425"/>
                    <a:pt x="9423972" y="2059404"/>
                    <a:pt x="9399783" y="2055017"/>
                  </a:cubicBezTo>
                  <a:lnTo>
                    <a:pt x="9400879" y="2048924"/>
                  </a:lnTo>
                  <a:cubicBezTo>
                    <a:pt x="9425251" y="2053311"/>
                    <a:pt x="9449623" y="2057271"/>
                    <a:pt x="9473141" y="2060683"/>
                  </a:cubicBezTo>
                  <a:close/>
                  <a:moveTo>
                    <a:pt x="9983548" y="2061476"/>
                  </a:moveTo>
                  <a:lnTo>
                    <a:pt x="9982513" y="2055383"/>
                  </a:lnTo>
                  <a:cubicBezTo>
                    <a:pt x="10006336" y="2051117"/>
                    <a:pt x="10030464" y="2046182"/>
                    <a:pt x="10054044" y="2040760"/>
                  </a:cubicBezTo>
                  <a:lnTo>
                    <a:pt x="10055445" y="2046853"/>
                  </a:lnTo>
                  <a:cubicBezTo>
                    <a:pt x="10031622" y="2052275"/>
                    <a:pt x="10007494" y="2057210"/>
                    <a:pt x="9983487" y="2061476"/>
                  </a:cubicBezTo>
                  <a:close/>
                  <a:moveTo>
                    <a:pt x="9327886" y="2040577"/>
                  </a:moveTo>
                  <a:cubicBezTo>
                    <a:pt x="9304428" y="2035459"/>
                    <a:pt x="9280422" y="2029732"/>
                    <a:pt x="9256537" y="2023699"/>
                  </a:cubicBezTo>
                  <a:lnTo>
                    <a:pt x="9258000" y="2017606"/>
                  </a:lnTo>
                  <a:cubicBezTo>
                    <a:pt x="9281823" y="2023699"/>
                    <a:pt x="9305768" y="2029305"/>
                    <a:pt x="9329166" y="2034423"/>
                  </a:cubicBezTo>
                  <a:close/>
                  <a:moveTo>
                    <a:pt x="10126489" y="2028391"/>
                  </a:moveTo>
                  <a:lnTo>
                    <a:pt x="10124844" y="2022298"/>
                  </a:lnTo>
                  <a:cubicBezTo>
                    <a:pt x="10148058" y="2015717"/>
                    <a:pt x="10171577" y="2008467"/>
                    <a:pt x="10194669" y="2000729"/>
                  </a:cubicBezTo>
                  <a:lnTo>
                    <a:pt x="10196619" y="2006517"/>
                  </a:lnTo>
                  <a:cubicBezTo>
                    <a:pt x="10173344" y="2014743"/>
                    <a:pt x="10149764" y="2022054"/>
                    <a:pt x="10126428" y="2028817"/>
                  </a:cubicBezTo>
                  <a:close/>
                  <a:moveTo>
                    <a:pt x="9185737" y="2004019"/>
                  </a:moveTo>
                  <a:cubicBezTo>
                    <a:pt x="9162828" y="1997439"/>
                    <a:pt x="9139248" y="1990310"/>
                    <a:pt x="9115546" y="1982816"/>
                  </a:cubicBezTo>
                  <a:lnTo>
                    <a:pt x="9117436" y="1976723"/>
                  </a:lnTo>
                  <a:cubicBezTo>
                    <a:pt x="9141015" y="1984217"/>
                    <a:pt x="9164595" y="1991346"/>
                    <a:pt x="9187444" y="1997926"/>
                  </a:cubicBezTo>
                  <a:close/>
                  <a:moveTo>
                    <a:pt x="2281873" y="1987324"/>
                  </a:moveTo>
                  <a:cubicBezTo>
                    <a:pt x="2265482" y="1966608"/>
                    <a:pt x="2250555" y="1947903"/>
                    <a:pt x="2236236" y="1930233"/>
                  </a:cubicBezTo>
                  <a:lnTo>
                    <a:pt x="2240928" y="1926395"/>
                  </a:lnTo>
                  <a:cubicBezTo>
                    <a:pt x="2255307" y="1944125"/>
                    <a:pt x="2270235" y="1962953"/>
                    <a:pt x="2286686" y="1983547"/>
                  </a:cubicBezTo>
                  <a:close/>
                  <a:moveTo>
                    <a:pt x="10265530" y="1981963"/>
                  </a:moveTo>
                  <a:lnTo>
                    <a:pt x="10263337" y="1976296"/>
                  </a:lnTo>
                  <a:cubicBezTo>
                    <a:pt x="10285820" y="1967522"/>
                    <a:pt x="10308547" y="1958017"/>
                    <a:pt x="10330847" y="1948208"/>
                  </a:cubicBezTo>
                  <a:lnTo>
                    <a:pt x="10333284" y="1953813"/>
                  </a:lnTo>
                  <a:cubicBezTo>
                    <a:pt x="10310923" y="1963684"/>
                    <a:pt x="10288135" y="1973189"/>
                    <a:pt x="10265530" y="1981963"/>
                  </a:cubicBezTo>
                  <a:close/>
                  <a:moveTo>
                    <a:pt x="4712596" y="1973981"/>
                  </a:moveTo>
                  <a:lnTo>
                    <a:pt x="4708635" y="1969350"/>
                  </a:lnTo>
                  <a:cubicBezTo>
                    <a:pt x="4727401" y="1953387"/>
                    <a:pt x="4745942" y="1937527"/>
                    <a:pt x="4764264" y="1921764"/>
                  </a:cubicBezTo>
                  <a:lnTo>
                    <a:pt x="4768224" y="1926395"/>
                  </a:lnTo>
                  <a:cubicBezTo>
                    <a:pt x="4749945" y="1942115"/>
                    <a:pt x="4731404" y="1957975"/>
                    <a:pt x="4712596" y="1973981"/>
                  </a:cubicBezTo>
                  <a:close/>
                  <a:moveTo>
                    <a:pt x="9045904" y="1960272"/>
                  </a:moveTo>
                  <a:cubicBezTo>
                    <a:pt x="9023360" y="1952473"/>
                    <a:pt x="9000146" y="1944125"/>
                    <a:pt x="8976932" y="1935473"/>
                  </a:cubicBezTo>
                  <a:lnTo>
                    <a:pt x="8979064" y="1929807"/>
                  </a:lnTo>
                  <a:cubicBezTo>
                    <a:pt x="9002218" y="1938398"/>
                    <a:pt x="9025370" y="1946746"/>
                    <a:pt x="9047915" y="1954544"/>
                  </a:cubicBezTo>
                  <a:close/>
                  <a:moveTo>
                    <a:pt x="10399697" y="1922556"/>
                  </a:moveTo>
                  <a:lnTo>
                    <a:pt x="10396956" y="1917133"/>
                  </a:lnTo>
                  <a:cubicBezTo>
                    <a:pt x="10418524" y="1906410"/>
                    <a:pt x="10440277" y="1895016"/>
                    <a:pt x="10461723" y="1883196"/>
                  </a:cubicBezTo>
                  <a:lnTo>
                    <a:pt x="10464648" y="1888497"/>
                  </a:lnTo>
                  <a:cubicBezTo>
                    <a:pt x="10443140" y="1900378"/>
                    <a:pt x="10421328" y="1911833"/>
                    <a:pt x="10399697" y="1922556"/>
                  </a:cubicBezTo>
                  <a:close/>
                  <a:moveTo>
                    <a:pt x="8908386" y="1909152"/>
                  </a:moveTo>
                  <a:cubicBezTo>
                    <a:pt x="8886086" y="1900317"/>
                    <a:pt x="8863237" y="1890873"/>
                    <a:pt x="8840510" y="1881429"/>
                  </a:cubicBezTo>
                  <a:lnTo>
                    <a:pt x="8842826" y="1875823"/>
                  </a:lnTo>
                  <a:cubicBezTo>
                    <a:pt x="8865552" y="1885328"/>
                    <a:pt x="8888401" y="1894650"/>
                    <a:pt x="8910640" y="1903485"/>
                  </a:cubicBezTo>
                  <a:close/>
                  <a:moveTo>
                    <a:pt x="4823548" y="1878687"/>
                  </a:moveTo>
                  <a:lnTo>
                    <a:pt x="4819588" y="1874117"/>
                  </a:lnTo>
                  <a:lnTo>
                    <a:pt x="4874851" y="1825922"/>
                  </a:lnTo>
                  <a:lnTo>
                    <a:pt x="4878812" y="1830492"/>
                  </a:lnTo>
                  <a:cubicBezTo>
                    <a:pt x="4860733" y="1846333"/>
                    <a:pt x="4842357" y="1862340"/>
                    <a:pt x="4823670" y="1878504"/>
                  </a:cubicBezTo>
                  <a:close/>
                  <a:moveTo>
                    <a:pt x="2189503" y="1873935"/>
                  </a:moveTo>
                  <a:cubicBezTo>
                    <a:pt x="2173113" y="1854437"/>
                    <a:pt x="2157028" y="1835732"/>
                    <a:pt x="2141735" y="1818367"/>
                  </a:cubicBezTo>
                  <a:lnTo>
                    <a:pt x="2146304" y="1814345"/>
                  </a:lnTo>
                  <a:cubicBezTo>
                    <a:pt x="2161659" y="1831771"/>
                    <a:pt x="2177744" y="1850477"/>
                    <a:pt x="2194134" y="1869974"/>
                  </a:cubicBezTo>
                  <a:close/>
                  <a:moveTo>
                    <a:pt x="8773123" y="1852609"/>
                  </a:moveTo>
                  <a:cubicBezTo>
                    <a:pt x="8751126" y="1842921"/>
                    <a:pt x="8728644" y="1832807"/>
                    <a:pt x="8706100" y="1822571"/>
                  </a:cubicBezTo>
                  <a:lnTo>
                    <a:pt x="8708659" y="1817026"/>
                  </a:lnTo>
                  <a:cubicBezTo>
                    <a:pt x="8730959" y="1827262"/>
                    <a:pt x="8753442" y="1837377"/>
                    <a:pt x="8775681" y="1847065"/>
                  </a:cubicBezTo>
                  <a:close/>
                  <a:moveTo>
                    <a:pt x="10527893" y="1852609"/>
                  </a:moveTo>
                  <a:lnTo>
                    <a:pt x="10524786" y="1847308"/>
                  </a:lnTo>
                  <a:cubicBezTo>
                    <a:pt x="10545928" y="1835123"/>
                    <a:pt x="10567071" y="1822327"/>
                    <a:pt x="10587543" y="1809715"/>
                  </a:cubicBezTo>
                  <a:lnTo>
                    <a:pt x="10590711" y="1814955"/>
                  </a:lnTo>
                  <a:cubicBezTo>
                    <a:pt x="10570605" y="1827080"/>
                    <a:pt x="10549462" y="1839936"/>
                    <a:pt x="10528319" y="1852122"/>
                  </a:cubicBezTo>
                  <a:close/>
                  <a:moveTo>
                    <a:pt x="8640296" y="1791192"/>
                  </a:moveTo>
                  <a:cubicBezTo>
                    <a:pt x="8618727" y="1780956"/>
                    <a:pt x="8596548" y="1770171"/>
                    <a:pt x="8574310" y="1759265"/>
                  </a:cubicBezTo>
                  <a:lnTo>
                    <a:pt x="8576990" y="1753781"/>
                  </a:lnTo>
                  <a:cubicBezTo>
                    <a:pt x="8599230" y="1764688"/>
                    <a:pt x="8621408" y="1775411"/>
                    <a:pt x="8642855" y="1785708"/>
                  </a:cubicBezTo>
                  <a:close/>
                  <a:moveTo>
                    <a:pt x="4934379" y="1782175"/>
                  </a:moveTo>
                  <a:lnTo>
                    <a:pt x="4930358" y="1777605"/>
                  </a:lnTo>
                  <a:lnTo>
                    <a:pt x="4985194" y="1729349"/>
                  </a:lnTo>
                  <a:lnTo>
                    <a:pt x="4989216" y="1733918"/>
                  </a:lnTo>
                  <a:close/>
                  <a:moveTo>
                    <a:pt x="10653408" y="1775472"/>
                  </a:moveTo>
                  <a:lnTo>
                    <a:pt x="10650118" y="1770354"/>
                  </a:lnTo>
                  <a:cubicBezTo>
                    <a:pt x="10670834" y="1757072"/>
                    <a:pt x="10691367" y="1743484"/>
                    <a:pt x="10711047" y="1730141"/>
                  </a:cubicBezTo>
                  <a:lnTo>
                    <a:pt x="10714459" y="1735198"/>
                  </a:lnTo>
                  <a:cubicBezTo>
                    <a:pt x="10694474" y="1748542"/>
                    <a:pt x="10673880" y="1762251"/>
                    <a:pt x="10653164" y="1775594"/>
                  </a:cubicBezTo>
                  <a:close/>
                  <a:moveTo>
                    <a:pt x="2092808" y="1763774"/>
                  </a:moveTo>
                  <a:cubicBezTo>
                    <a:pt x="2075687" y="1745495"/>
                    <a:pt x="2058566" y="1727765"/>
                    <a:pt x="2041993" y="1711192"/>
                  </a:cubicBezTo>
                  <a:lnTo>
                    <a:pt x="2046258" y="1706866"/>
                  </a:lnTo>
                  <a:cubicBezTo>
                    <a:pt x="2062953" y="1723500"/>
                    <a:pt x="2080074" y="1741230"/>
                    <a:pt x="2097256" y="1759631"/>
                  </a:cubicBezTo>
                  <a:close/>
                  <a:moveTo>
                    <a:pt x="8508688" y="1726546"/>
                  </a:moveTo>
                  <a:cubicBezTo>
                    <a:pt x="8486815" y="1715536"/>
                    <a:pt x="8465002" y="1704386"/>
                    <a:pt x="8443189" y="1693096"/>
                  </a:cubicBezTo>
                  <a:lnTo>
                    <a:pt x="8445992" y="1687734"/>
                  </a:lnTo>
                  <a:cubicBezTo>
                    <a:pt x="8467804" y="1698945"/>
                    <a:pt x="8489617" y="1710077"/>
                    <a:pt x="8511430" y="1721123"/>
                  </a:cubicBezTo>
                  <a:close/>
                  <a:moveTo>
                    <a:pt x="10774536" y="1693705"/>
                  </a:moveTo>
                  <a:lnTo>
                    <a:pt x="10771002" y="1688709"/>
                  </a:lnTo>
                  <a:cubicBezTo>
                    <a:pt x="10790987" y="1674512"/>
                    <a:pt x="10810789" y="1660011"/>
                    <a:pt x="10829982" y="1645631"/>
                  </a:cubicBezTo>
                  <a:lnTo>
                    <a:pt x="10833698" y="1650445"/>
                  </a:lnTo>
                  <a:cubicBezTo>
                    <a:pt x="10814444" y="1664824"/>
                    <a:pt x="10794521" y="1679326"/>
                    <a:pt x="10774536" y="1693705"/>
                  </a:cubicBezTo>
                  <a:close/>
                  <a:moveTo>
                    <a:pt x="5044235" y="1685723"/>
                  </a:moveTo>
                  <a:lnTo>
                    <a:pt x="5040214" y="1681153"/>
                  </a:lnTo>
                  <a:lnTo>
                    <a:pt x="5095050" y="1632836"/>
                  </a:lnTo>
                  <a:lnTo>
                    <a:pt x="5099072" y="1637406"/>
                  </a:lnTo>
                  <a:close/>
                  <a:moveTo>
                    <a:pt x="1989045" y="1660803"/>
                  </a:moveTo>
                  <a:cubicBezTo>
                    <a:pt x="1970766" y="1643987"/>
                    <a:pt x="1952061" y="1627840"/>
                    <a:pt x="1933904" y="1612851"/>
                  </a:cubicBezTo>
                  <a:lnTo>
                    <a:pt x="1938047" y="1608404"/>
                  </a:lnTo>
                  <a:cubicBezTo>
                    <a:pt x="1956326" y="1623453"/>
                    <a:pt x="1974970" y="1639660"/>
                    <a:pt x="1993493" y="1656538"/>
                  </a:cubicBezTo>
                  <a:close/>
                  <a:moveTo>
                    <a:pt x="8377812" y="1659280"/>
                  </a:moveTo>
                  <a:cubicBezTo>
                    <a:pt x="8356182" y="1647904"/>
                    <a:pt x="8334551" y="1636450"/>
                    <a:pt x="8312922" y="1624916"/>
                  </a:cubicBezTo>
                  <a:lnTo>
                    <a:pt x="8315785" y="1619493"/>
                  </a:lnTo>
                  <a:cubicBezTo>
                    <a:pt x="8337416" y="1631069"/>
                    <a:pt x="8359045" y="1642543"/>
                    <a:pt x="8380615" y="1653918"/>
                  </a:cubicBezTo>
                  <a:close/>
                  <a:moveTo>
                    <a:pt x="10891642" y="1605601"/>
                  </a:moveTo>
                  <a:lnTo>
                    <a:pt x="10887865" y="1600787"/>
                  </a:lnTo>
                  <a:cubicBezTo>
                    <a:pt x="10907058" y="1585555"/>
                    <a:pt x="10926068" y="1569957"/>
                    <a:pt x="10944407" y="1554542"/>
                  </a:cubicBezTo>
                  <a:lnTo>
                    <a:pt x="10948307" y="1559172"/>
                  </a:lnTo>
                  <a:cubicBezTo>
                    <a:pt x="10929967" y="1574649"/>
                    <a:pt x="10910896" y="1590125"/>
                    <a:pt x="10891642" y="1605601"/>
                  </a:cubicBezTo>
                  <a:close/>
                  <a:moveTo>
                    <a:pt x="8248276" y="1590125"/>
                  </a:moveTo>
                  <a:cubicBezTo>
                    <a:pt x="8226768" y="1578469"/>
                    <a:pt x="8205320" y="1566807"/>
                    <a:pt x="8183812" y="1555151"/>
                  </a:cubicBezTo>
                  <a:lnTo>
                    <a:pt x="8186737" y="1549789"/>
                  </a:lnTo>
                  <a:lnTo>
                    <a:pt x="8251139" y="1584763"/>
                  </a:lnTo>
                  <a:close/>
                  <a:moveTo>
                    <a:pt x="5154396" y="1589211"/>
                  </a:moveTo>
                  <a:lnTo>
                    <a:pt x="5150374" y="1584580"/>
                  </a:lnTo>
                  <a:lnTo>
                    <a:pt x="5205698" y="1536568"/>
                  </a:lnTo>
                  <a:lnTo>
                    <a:pt x="5209659" y="1541198"/>
                  </a:lnTo>
                  <a:cubicBezTo>
                    <a:pt x="5191459" y="1557040"/>
                    <a:pt x="5173040" y="1573065"/>
                    <a:pt x="5154396" y="1589272"/>
                  </a:cubicBezTo>
                  <a:close/>
                  <a:moveTo>
                    <a:pt x="1876387" y="1568129"/>
                  </a:moveTo>
                  <a:cubicBezTo>
                    <a:pt x="1856280" y="1553628"/>
                    <a:pt x="1835929" y="1539919"/>
                    <a:pt x="1815823" y="1527428"/>
                  </a:cubicBezTo>
                  <a:lnTo>
                    <a:pt x="1819052" y="1522249"/>
                  </a:lnTo>
                  <a:cubicBezTo>
                    <a:pt x="1839280" y="1534801"/>
                    <a:pt x="1859753" y="1548571"/>
                    <a:pt x="1879981" y="1563194"/>
                  </a:cubicBezTo>
                  <a:close/>
                  <a:moveTo>
                    <a:pt x="8119715" y="1520056"/>
                  </a:moveTo>
                  <a:lnTo>
                    <a:pt x="8055373" y="1484960"/>
                  </a:lnTo>
                  <a:lnTo>
                    <a:pt x="8058297" y="1479598"/>
                  </a:lnTo>
                  <a:lnTo>
                    <a:pt x="8122578" y="1514755"/>
                  </a:lnTo>
                  <a:close/>
                  <a:moveTo>
                    <a:pt x="11003570" y="1510916"/>
                  </a:moveTo>
                  <a:lnTo>
                    <a:pt x="10999487" y="1506408"/>
                  </a:lnTo>
                  <a:cubicBezTo>
                    <a:pt x="11017766" y="1490079"/>
                    <a:pt x="11036045" y="1473384"/>
                    <a:pt x="11053106" y="1456750"/>
                  </a:cubicBezTo>
                  <a:lnTo>
                    <a:pt x="11057309" y="1461137"/>
                  </a:lnTo>
                  <a:cubicBezTo>
                    <a:pt x="11039884" y="1478014"/>
                    <a:pt x="11021788" y="1494770"/>
                    <a:pt x="11003570" y="1510916"/>
                  </a:cubicBezTo>
                  <a:close/>
                  <a:moveTo>
                    <a:pt x="3473" y="1509393"/>
                  </a:moveTo>
                  <a:lnTo>
                    <a:pt x="0" y="1504336"/>
                  </a:lnTo>
                  <a:cubicBezTo>
                    <a:pt x="19681" y="1490931"/>
                    <a:pt x="40519" y="1477649"/>
                    <a:pt x="62027" y="1464915"/>
                  </a:cubicBezTo>
                  <a:lnTo>
                    <a:pt x="65134" y="1470154"/>
                  </a:lnTo>
                  <a:cubicBezTo>
                    <a:pt x="43748" y="1482828"/>
                    <a:pt x="23032" y="1496050"/>
                    <a:pt x="3473" y="1509393"/>
                  </a:cubicBezTo>
                  <a:close/>
                  <a:moveTo>
                    <a:pt x="5265166" y="1493552"/>
                  </a:moveTo>
                  <a:lnTo>
                    <a:pt x="5261205" y="1488921"/>
                  </a:lnTo>
                  <a:cubicBezTo>
                    <a:pt x="5280051" y="1472671"/>
                    <a:pt x="5298695" y="1456872"/>
                    <a:pt x="5317139" y="1441518"/>
                  </a:cubicBezTo>
                  <a:lnTo>
                    <a:pt x="5321038" y="1446209"/>
                  </a:lnTo>
                  <a:cubicBezTo>
                    <a:pt x="5302595" y="1461685"/>
                    <a:pt x="5283974" y="1477466"/>
                    <a:pt x="5265166" y="1493552"/>
                  </a:cubicBezTo>
                  <a:close/>
                  <a:moveTo>
                    <a:pt x="1752212" y="1491541"/>
                  </a:moveTo>
                  <a:cubicBezTo>
                    <a:pt x="1734543" y="1482462"/>
                    <a:pt x="1716568" y="1473993"/>
                    <a:pt x="1698716" y="1466377"/>
                  </a:cubicBezTo>
                  <a:lnTo>
                    <a:pt x="1686104" y="1461076"/>
                  </a:lnTo>
                  <a:lnTo>
                    <a:pt x="1688480" y="1455471"/>
                  </a:lnTo>
                  <a:lnTo>
                    <a:pt x="1701092" y="1460771"/>
                  </a:lnTo>
                  <a:cubicBezTo>
                    <a:pt x="1719066" y="1468449"/>
                    <a:pt x="1737223" y="1476979"/>
                    <a:pt x="1755015" y="1486118"/>
                  </a:cubicBezTo>
                  <a:close/>
                  <a:moveTo>
                    <a:pt x="7991031" y="1449987"/>
                  </a:moveTo>
                  <a:cubicBezTo>
                    <a:pt x="7969584" y="1438288"/>
                    <a:pt x="7948198" y="1426632"/>
                    <a:pt x="7926812" y="1415013"/>
                  </a:cubicBezTo>
                  <a:lnTo>
                    <a:pt x="7929675" y="1409651"/>
                  </a:lnTo>
                  <a:lnTo>
                    <a:pt x="7993956" y="1444625"/>
                  </a:lnTo>
                  <a:close/>
                  <a:moveTo>
                    <a:pt x="129049" y="1434754"/>
                  </a:moveTo>
                  <a:lnTo>
                    <a:pt x="126246" y="1429332"/>
                  </a:lnTo>
                  <a:cubicBezTo>
                    <a:pt x="147755" y="1418182"/>
                    <a:pt x="169994" y="1407458"/>
                    <a:pt x="192355" y="1397405"/>
                  </a:cubicBezTo>
                  <a:lnTo>
                    <a:pt x="194853" y="1403010"/>
                  </a:lnTo>
                  <a:cubicBezTo>
                    <a:pt x="172614" y="1413003"/>
                    <a:pt x="150496" y="1423665"/>
                    <a:pt x="129049" y="1434754"/>
                  </a:cubicBezTo>
                  <a:close/>
                  <a:moveTo>
                    <a:pt x="1618350" y="1433536"/>
                  </a:moveTo>
                  <a:cubicBezTo>
                    <a:pt x="1595623" y="1424640"/>
                    <a:pt x="1572531" y="1415988"/>
                    <a:pt x="1549865" y="1407823"/>
                  </a:cubicBezTo>
                  <a:lnTo>
                    <a:pt x="1551937" y="1402096"/>
                  </a:lnTo>
                  <a:cubicBezTo>
                    <a:pt x="1574663" y="1410261"/>
                    <a:pt x="1597756" y="1418974"/>
                    <a:pt x="1620543" y="1427869"/>
                  </a:cubicBezTo>
                  <a:close/>
                  <a:moveTo>
                    <a:pt x="11109343" y="1409773"/>
                  </a:moveTo>
                  <a:lnTo>
                    <a:pt x="11105018" y="1405508"/>
                  </a:lnTo>
                  <a:cubicBezTo>
                    <a:pt x="11122017" y="1388082"/>
                    <a:pt x="11138894" y="1370169"/>
                    <a:pt x="11155102" y="1352378"/>
                  </a:cubicBezTo>
                  <a:lnTo>
                    <a:pt x="11159610" y="1356460"/>
                  </a:lnTo>
                  <a:cubicBezTo>
                    <a:pt x="11143343" y="1374312"/>
                    <a:pt x="11126221" y="1392287"/>
                    <a:pt x="11109343" y="1409773"/>
                  </a:cubicBezTo>
                  <a:close/>
                  <a:moveTo>
                    <a:pt x="5377276" y="1399415"/>
                  </a:moveTo>
                  <a:lnTo>
                    <a:pt x="5373437" y="1394724"/>
                  </a:lnTo>
                  <a:cubicBezTo>
                    <a:pt x="5392874" y="1378760"/>
                    <a:pt x="5412006" y="1363223"/>
                    <a:pt x="5430284" y="1348539"/>
                  </a:cubicBezTo>
                  <a:lnTo>
                    <a:pt x="5434123" y="1353292"/>
                  </a:lnTo>
                  <a:cubicBezTo>
                    <a:pt x="5415844" y="1367915"/>
                    <a:pt x="5396713" y="1383452"/>
                    <a:pt x="5377276" y="1399415"/>
                  </a:cubicBezTo>
                  <a:close/>
                  <a:moveTo>
                    <a:pt x="1480710" y="1383939"/>
                  </a:moveTo>
                  <a:cubicBezTo>
                    <a:pt x="1457496" y="1376323"/>
                    <a:pt x="1434038" y="1368951"/>
                    <a:pt x="1410885" y="1362126"/>
                  </a:cubicBezTo>
                  <a:lnTo>
                    <a:pt x="1412652" y="1356033"/>
                  </a:lnTo>
                  <a:cubicBezTo>
                    <a:pt x="1435805" y="1362918"/>
                    <a:pt x="1459385" y="1370291"/>
                    <a:pt x="1482599" y="1377907"/>
                  </a:cubicBezTo>
                  <a:close/>
                  <a:moveTo>
                    <a:pt x="7862470" y="1380040"/>
                  </a:moveTo>
                  <a:cubicBezTo>
                    <a:pt x="7841022" y="1368463"/>
                    <a:pt x="7819576" y="1356966"/>
                    <a:pt x="7798128" y="1345553"/>
                  </a:cubicBezTo>
                  <a:lnTo>
                    <a:pt x="7800992" y="1340131"/>
                  </a:lnTo>
                  <a:lnTo>
                    <a:pt x="7865394" y="1374678"/>
                  </a:lnTo>
                  <a:close/>
                  <a:moveTo>
                    <a:pt x="262485" y="1374800"/>
                  </a:moveTo>
                  <a:lnTo>
                    <a:pt x="260291" y="1369072"/>
                  </a:lnTo>
                  <a:cubicBezTo>
                    <a:pt x="282835" y="1360360"/>
                    <a:pt x="306110" y="1352012"/>
                    <a:pt x="329386" y="1344335"/>
                  </a:cubicBezTo>
                  <a:lnTo>
                    <a:pt x="331274" y="1350123"/>
                  </a:lnTo>
                  <a:cubicBezTo>
                    <a:pt x="307938" y="1357739"/>
                    <a:pt x="284785" y="1366087"/>
                    <a:pt x="262485" y="1374800"/>
                  </a:cubicBezTo>
                  <a:close/>
                  <a:moveTo>
                    <a:pt x="1340938" y="1342324"/>
                  </a:moveTo>
                  <a:cubicBezTo>
                    <a:pt x="1317297" y="1336231"/>
                    <a:pt x="1293413" y="1330138"/>
                    <a:pt x="1269955" y="1324777"/>
                  </a:cubicBezTo>
                  <a:lnTo>
                    <a:pt x="1271295" y="1318684"/>
                  </a:lnTo>
                  <a:cubicBezTo>
                    <a:pt x="1294814" y="1324045"/>
                    <a:pt x="1318820" y="1330017"/>
                    <a:pt x="1342522" y="1336231"/>
                  </a:cubicBezTo>
                  <a:close/>
                  <a:moveTo>
                    <a:pt x="401526" y="1328920"/>
                  </a:moveTo>
                  <a:lnTo>
                    <a:pt x="399942" y="1322827"/>
                  </a:lnTo>
                  <a:cubicBezTo>
                    <a:pt x="423278" y="1316368"/>
                    <a:pt x="447223" y="1310641"/>
                    <a:pt x="471108" y="1305035"/>
                  </a:cubicBezTo>
                  <a:lnTo>
                    <a:pt x="472448" y="1311128"/>
                  </a:lnTo>
                  <a:cubicBezTo>
                    <a:pt x="448198" y="1316551"/>
                    <a:pt x="424314" y="1322522"/>
                    <a:pt x="401039" y="1328920"/>
                  </a:cubicBezTo>
                  <a:close/>
                  <a:moveTo>
                    <a:pt x="7733847" y="1311311"/>
                  </a:moveTo>
                  <a:cubicBezTo>
                    <a:pt x="7712096" y="1299978"/>
                    <a:pt x="7690466" y="1288706"/>
                    <a:pt x="7668775" y="1277617"/>
                  </a:cubicBezTo>
                  <a:lnTo>
                    <a:pt x="7671578" y="1272194"/>
                  </a:lnTo>
                  <a:cubicBezTo>
                    <a:pt x="7693268" y="1283326"/>
                    <a:pt x="7714959" y="1294574"/>
                    <a:pt x="7736650" y="1305949"/>
                  </a:cubicBezTo>
                  <a:close/>
                  <a:moveTo>
                    <a:pt x="1197936" y="1309849"/>
                  </a:moveTo>
                  <a:cubicBezTo>
                    <a:pt x="1173930" y="1305157"/>
                    <a:pt x="1149680" y="1300892"/>
                    <a:pt x="1125917" y="1297115"/>
                  </a:cubicBezTo>
                  <a:lnTo>
                    <a:pt x="1126892" y="1291022"/>
                  </a:lnTo>
                  <a:cubicBezTo>
                    <a:pt x="1150716" y="1294799"/>
                    <a:pt x="1175027" y="1299125"/>
                    <a:pt x="1199094" y="1303817"/>
                  </a:cubicBezTo>
                  <a:close/>
                  <a:moveTo>
                    <a:pt x="5491580" y="1308326"/>
                  </a:moveTo>
                  <a:lnTo>
                    <a:pt x="5487863" y="1303512"/>
                  </a:lnTo>
                  <a:cubicBezTo>
                    <a:pt x="5507787" y="1288097"/>
                    <a:pt x="5527406" y="1273047"/>
                    <a:pt x="5546234" y="1259216"/>
                  </a:cubicBezTo>
                  <a:lnTo>
                    <a:pt x="5549889" y="1264152"/>
                  </a:lnTo>
                  <a:cubicBezTo>
                    <a:pt x="5531062" y="1277800"/>
                    <a:pt x="5511443" y="1292667"/>
                    <a:pt x="5491580" y="1308021"/>
                  </a:cubicBezTo>
                  <a:close/>
                  <a:moveTo>
                    <a:pt x="11207928" y="1301745"/>
                  </a:moveTo>
                  <a:lnTo>
                    <a:pt x="11203297" y="1297785"/>
                  </a:lnTo>
                  <a:cubicBezTo>
                    <a:pt x="11218895" y="1279506"/>
                    <a:pt x="11234432" y="1260252"/>
                    <a:pt x="11249420" y="1241181"/>
                  </a:cubicBezTo>
                  <a:lnTo>
                    <a:pt x="11254234" y="1244959"/>
                  </a:lnTo>
                  <a:cubicBezTo>
                    <a:pt x="11239185" y="1263786"/>
                    <a:pt x="11223708" y="1282857"/>
                    <a:pt x="11207928" y="1301441"/>
                  </a:cubicBezTo>
                  <a:close/>
                  <a:moveTo>
                    <a:pt x="543675" y="1297236"/>
                  </a:moveTo>
                  <a:lnTo>
                    <a:pt x="542578" y="1291143"/>
                  </a:lnTo>
                  <a:cubicBezTo>
                    <a:pt x="566401" y="1287000"/>
                    <a:pt x="590834" y="1283284"/>
                    <a:pt x="615145" y="1280176"/>
                  </a:cubicBezTo>
                  <a:lnTo>
                    <a:pt x="615937" y="1286269"/>
                  </a:lnTo>
                  <a:cubicBezTo>
                    <a:pt x="591504" y="1289072"/>
                    <a:pt x="567133" y="1292728"/>
                    <a:pt x="543675" y="1296932"/>
                  </a:cubicBezTo>
                  <a:close/>
                  <a:moveTo>
                    <a:pt x="1053472" y="1286879"/>
                  </a:moveTo>
                  <a:cubicBezTo>
                    <a:pt x="1029100" y="1283954"/>
                    <a:pt x="1004729" y="1281395"/>
                    <a:pt x="980722" y="1279384"/>
                  </a:cubicBezTo>
                  <a:lnTo>
                    <a:pt x="981271" y="1273291"/>
                  </a:lnTo>
                  <a:cubicBezTo>
                    <a:pt x="1005338" y="1275302"/>
                    <a:pt x="1030014" y="1277800"/>
                    <a:pt x="1054386" y="1280786"/>
                  </a:cubicBezTo>
                  <a:close/>
                  <a:moveTo>
                    <a:pt x="688626" y="1278653"/>
                  </a:moveTo>
                  <a:lnTo>
                    <a:pt x="688139" y="1272560"/>
                  </a:lnTo>
                  <a:cubicBezTo>
                    <a:pt x="712510" y="1270610"/>
                    <a:pt x="736882" y="1269087"/>
                    <a:pt x="761254" y="1268173"/>
                  </a:cubicBezTo>
                  <a:lnTo>
                    <a:pt x="761254" y="1274266"/>
                  </a:lnTo>
                  <a:cubicBezTo>
                    <a:pt x="737187" y="1274875"/>
                    <a:pt x="712632" y="1276338"/>
                    <a:pt x="688626" y="1278348"/>
                  </a:cubicBezTo>
                  <a:close/>
                  <a:moveTo>
                    <a:pt x="907972" y="1274693"/>
                  </a:moveTo>
                  <a:cubicBezTo>
                    <a:pt x="883601" y="1273657"/>
                    <a:pt x="859229" y="1273047"/>
                    <a:pt x="834857" y="1272987"/>
                  </a:cubicBezTo>
                  <a:lnTo>
                    <a:pt x="834857" y="1266894"/>
                  </a:lnTo>
                  <a:cubicBezTo>
                    <a:pt x="859229" y="1266894"/>
                    <a:pt x="883601" y="1267564"/>
                    <a:pt x="907972" y="1268660"/>
                  </a:cubicBezTo>
                  <a:close/>
                  <a:moveTo>
                    <a:pt x="7603154" y="1244837"/>
                  </a:moveTo>
                  <a:cubicBezTo>
                    <a:pt x="7580731" y="1233626"/>
                    <a:pt x="7558614" y="1222720"/>
                    <a:pt x="7537472" y="1212423"/>
                  </a:cubicBezTo>
                  <a:lnTo>
                    <a:pt x="7540152" y="1206939"/>
                  </a:lnTo>
                  <a:cubicBezTo>
                    <a:pt x="7561295" y="1217236"/>
                    <a:pt x="7583413" y="1228142"/>
                    <a:pt x="7605895" y="1239353"/>
                  </a:cubicBezTo>
                  <a:close/>
                  <a:moveTo>
                    <a:pt x="5609052" y="1220892"/>
                  </a:moveTo>
                  <a:lnTo>
                    <a:pt x="5605518" y="1215956"/>
                  </a:lnTo>
                  <a:cubicBezTo>
                    <a:pt x="5625868" y="1201577"/>
                    <a:pt x="5646219" y="1187624"/>
                    <a:pt x="5665960" y="1174463"/>
                  </a:cubicBezTo>
                  <a:lnTo>
                    <a:pt x="5669311" y="1179521"/>
                  </a:lnTo>
                  <a:cubicBezTo>
                    <a:pt x="5649631" y="1192621"/>
                    <a:pt x="5629341" y="1206573"/>
                    <a:pt x="5609052" y="1220892"/>
                  </a:cubicBezTo>
                  <a:close/>
                  <a:moveTo>
                    <a:pt x="11298347" y="1186162"/>
                  </a:moveTo>
                  <a:lnTo>
                    <a:pt x="11293472" y="1182628"/>
                  </a:lnTo>
                  <a:cubicBezTo>
                    <a:pt x="11307669" y="1163009"/>
                    <a:pt x="11321805" y="1142902"/>
                    <a:pt x="11335331" y="1122734"/>
                  </a:cubicBezTo>
                  <a:lnTo>
                    <a:pt x="11340388" y="1126146"/>
                  </a:lnTo>
                  <a:cubicBezTo>
                    <a:pt x="11326801" y="1146375"/>
                    <a:pt x="11312665" y="1166543"/>
                    <a:pt x="11298347" y="1186162"/>
                  </a:cubicBezTo>
                  <a:close/>
                  <a:moveTo>
                    <a:pt x="7471180" y="1180556"/>
                  </a:moveTo>
                  <a:cubicBezTo>
                    <a:pt x="7448758" y="1170016"/>
                    <a:pt x="7426397" y="1159718"/>
                    <a:pt x="7404706" y="1150092"/>
                  </a:cubicBezTo>
                  <a:lnTo>
                    <a:pt x="7407204" y="1144547"/>
                  </a:lnTo>
                  <a:cubicBezTo>
                    <a:pt x="7428896" y="1154357"/>
                    <a:pt x="7451317" y="1164654"/>
                    <a:pt x="7473801" y="1175012"/>
                  </a:cubicBezTo>
                  <a:close/>
                  <a:moveTo>
                    <a:pt x="5730789" y="1140038"/>
                  </a:moveTo>
                  <a:lnTo>
                    <a:pt x="5727560" y="1134859"/>
                  </a:lnTo>
                  <a:cubicBezTo>
                    <a:pt x="5748641" y="1121759"/>
                    <a:pt x="5769845" y="1109147"/>
                    <a:pt x="5790561" y="1097388"/>
                  </a:cubicBezTo>
                  <a:lnTo>
                    <a:pt x="5793547" y="1102688"/>
                  </a:lnTo>
                  <a:cubicBezTo>
                    <a:pt x="5772891" y="1114387"/>
                    <a:pt x="5751810" y="1127060"/>
                    <a:pt x="5730789" y="1140038"/>
                  </a:cubicBezTo>
                  <a:close/>
                  <a:moveTo>
                    <a:pt x="7337683" y="1120541"/>
                  </a:moveTo>
                  <a:cubicBezTo>
                    <a:pt x="7314957" y="1110792"/>
                    <a:pt x="7292230" y="1101287"/>
                    <a:pt x="7270113" y="1092330"/>
                  </a:cubicBezTo>
                  <a:lnTo>
                    <a:pt x="7272367" y="1086664"/>
                  </a:lnTo>
                  <a:cubicBezTo>
                    <a:pt x="7294546" y="1095682"/>
                    <a:pt x="7317333" y="1104943"/>
                    <a:pt x="7340060" y="1114935"/>
                  </a:cubicBezTo>
                  <a:close/>
                  <a:moveTo>
                    <a:pt x="5857766" y="1067837"/>
                  </a:moveTo>
                  <a:lnTo>
                    <a:pt x="5854963" y="1062414"/>
                  </a:lnTo>
                  <a:cubicBezTo>
                    <a:pt x="5876959" y="1051081"/>
                    <a:pt x="5899137" y="1040297"/>
                    <a:pt x="5920828" y="1030426"/>
                  </a:cubicBezTo>
                  <a:lnTo>
                    <a:pt x="5923387" y="1035970"/>
                  </a:lnTo>
                  <a:cubicBezTo>
                    <a:pt x="5901757" y="1045841"/>
                    <a:pt x="5879701" y="1056565"/>
                    <a:pt x="5857766" y="1067837"/>
                  </a:cubicBezTo>
                  <a:close/>
                  <a:moveTo>
                    <a:pt x="7201993" y="1065582"/>
                  </a:moveTo>
                  <a:cubicBezTo>
                    <a:pt x="7178901" y="1056809"/>
                    <a:pt x="7155748" y="1048400"/>
                    <a:pt x="7133265" y="1040479"/>
                  </a:cubicBezTo>
                  <a:lnTo>
                    <a:pt x="7135276" y="1034752"/>
                  </a:lnTo>
                  <a:cubicBezTo>
                    <a:pt x="7157819" y="1042673"/>
                    <a:pt x="7180973" y="1051142"/>
                    <a:pt x="7204126" y="1059916"/>
                  </a:cubicBezTo>
                  <a:close/>
                  <a:moveTo>
                    <a:pt x="11380236" y="1064668"/>
                  </a:moveTo>
                  <a:lnTo>
                    <a:pt x="11375057" y="1061439"/>
                  </a:lnTo>
                  <a:cubicBezTo>
                    <a:pt x="11387731" y="1041150"/>
                    <a:pt x="11400404" y="1020068"/>
                    <a:pt x="11412712" y="998864"/>
                  </a:cubicBezTo>
                  <a:lnTo>
                    <a:pt x="11418013" y="1001911"/>
                  </a:lnTo>
                  <a:cubicBezTo>
                    <a:pt x="11405644" y="1023480"/>
                    <a:pt x="11392971" y="1044318"/>
                    <a:pt x="11380236" y="1064668"/>
                  </a:cubicBezTo>
                  <a:close/>
                  <a:moveTo>
                    <a:pt x="7063866" y="1017387"/>
                  </a:moveTo>
                  <a:cubicBezTo>
                    <a:pt x="7040409" y="1009893"/>
                    <a:pt x="7016829" y="1002764"/>
                    <a:pt x="6993859" y="996184"/>
                  </a:cubicBezTo>
                  <a:lnTo>
                    <a:pt x="6995565" y="990091"/>
                  </a:lnTo>
                  <a:cubicBezTo>
                    <a:pt x="7018596" y="996671"/>
                    <a:pt x="7042175" y="1003800"/>
                    <a:pt x="7065755" y="1011355"/>
                  </a:cubicBezTo>
                  <a:close/>
                  <a:moveTo>
                    <a:pt x="5990471" y="1007273"/>
                  </a:moveTo>
                  <a:lnTo>
                    <a:pt x="5988277" y="1001606"/>
                  </a:lnTo>
                  <a:cubicBezTo>
                    <a:pt x="6011065" y="992589"/>
                    <a:pt x="6034218" y="984120"/>
                    <a:pt x="6057067" y="976442"/>
                  </a:cubicBezTo>
                  <a:lnTo>
                    <a:pt x="6059016" y="982535"/>
                  </a:lnTo>
                  <a:cubicBezTo>
                    <a:pt x="6036290" y="989847"/>
                    <a:pt x="6013198" y="998255"/>
                    <a:pt x="5990471" y="1007273"/>
                  </a:cubicBezTo>
                  <a:close/>
                  <a:moveTo>
                    <a:pt x="6923241" y="976808"/>
                  </a:moveTo>
                  <a:lnTo>
                    <a:pt x="6906242" y="972665"/>
                  </a:lnTo>
                  <a:cubicBezTo>
                    <a:pt x="6887963" y="968278"/>
                    <a:pt x="6869684" y="964074"/>
                    <a:pt x="6852014" y="960479"/>
                  </a:cubicBezTo>
                  <a:lnTo>
                    <a:pt x="6853294" y="954386"/>
                  </a:lnTo>
                  <a:cubicBezTo>
                    <a:pt x="6871024" y="958225"/>
                    <a:pt x="6889364" y="962368"/>
                    <a:pt x="6907704" y="966572"/>
                  </a:cubicBezTo>
                  <a:lnTo>
                    <a:pt x="6924704" y="970715"/>
                  </a:lnTo>
                  <a:close/>
                  <a:moveTo>
                    <a:pt x="6128781" y="960783"/>
                  </a:moveTo>
                  <a:lnTo>
                    <a:pt x="6127196" y="954691"/>
                  </a:lnTo>
                  <a:cubicBezTo>
                    <a:pt x="6150716" y="948293"/>
                    <a:pt x="6174660" y="942505"/>
                    <a:pt x="6198362" y="937509"/>
                  </a:cubicBezTo>
                  <a:lnTo>
                    <a:pt x="6199642" y="943601"/>
                  </a:lnTo>
                  <a:cubicBezTo>
                    <a:pt x="6176001" y="948902"/>
                    <a:pt x="6152178" y="954691"/>
                    <a:pt x="6128781" y="961027"/>
                  </a:cubicBezTo>
                  <a:close/>
                  <a:moveTo>
                    <a:pt x="6780300" y="945917"/>
                  </a:moveTo>
                  <a:cubicBezTo>
                    <a:pt x="6755928" y="941469"/>
                    <a:pt x="6731557" y="937509"/>
                    <a:pt x="6708099" y="934096"/>
                  </a:cubicBezTo>
                  <a:lnTo>
                    <a:pt x="6709013" y="928003"/>
                  </a:lnTo>
                  <a:cubicBezTo>
                    <a:pt x="6732715" y="931416"/>
                    <a:pt x="6757086" y="935437"/>
                    <a:pt x="6781397" y="939885"/>
                  </a:cubicBezTo>
                  <a:close/>
                  <a:moveTo>
                    <a:pt x="11453595" y="937691"/>
                  </a:moveTo>
                  <a:lnTo>
                    <a:pt x="11448233" y="934828"/>
                  </a:lnTo>
                  <a:cubicBezTo>
                    <a:pt x="11459384" y="914111"/>
                    <a:pt x="11470778" y="892177"/>
                    <a:pt x="11482111" y="870059"/>
                  </a:cubicBezTo>
                  <a:lnTo>
                    <a:pt x="11487533" y="872801"/>
                  </a:lnTo>
                  <a:cubicBezTo>
                    <a:pt x="11476383" y="895528"/>
                    <a:pt x="11464989" y="917219"/>
                    <a:pt x="11453778" y="938179"/>
                  </a:cubicBezTo>
                  <a:close/>
                  <a:moveTo>
                    <a:pt x="6271234" y="930745"/>
                  </a:moveTo>
                  <a:lnTo>
                    <a:pt x="6270320" y="924652"/>
                  </a:lnTo>
                  <a:cubicBezTo>
                    <a:pt x="6294204" y="921057"/>
                    <a:pt x="6318637" y="918072"/>
                    <a:pt x="6343009" y="915817"/>
                  </a:cubicBezTo>
                  <a:lnTo>
                    <a:pt x="6343619" y="921910"/>
                  </a:lnTo>
                  <a:cubicBezTo>
                    <a:pt x="6319490" y="924409"/>
                    <a:pt x="6295179" y="927394"/>
                    <a:pt x="6271417" y="930989"/>
                  </a:cubicBezTo>
                  <a:close/>
                  <a:moveTo>
                    <a:pt x="6635410" y="925018"/>
                  </a:moveTo>
                  <a:cubicBezTo>
                    <a:pt x="6611038" y="922398"/>
                    <a:pt x="6586666" y="920387"/>
                    <a:pt x="6562294" y="918925"/>
                  </a:cubicBezTo>
                  <a:lnTo>
                    <a:pt x="6562660" y="912832"/>
                  </a:lnTo>
                  <a:cubicBezTo>
                    <a:pt x="6586605" y="914233"/>
                    <a:pt x="6611404" y="916305"/>
                    <a:pt x="6635776" y="918925"/>
                  </a:cubicBezTo>
                  <a:close/>
                  <a:moveTo>
                    <a:pt x="6416368" y="917402"/>
                  </a:moveTo>
                  <a:lnTo>
                    <a:pt x="6416368" y="911309"/>
                  </a:lnTo>
                  <a:cubicBezTo>
                    <a:pt x="6434221" y="910639"/>
                    <a:pt x="6452500" y="910273"/>
                    <a:pt x="6470596" y="910273"/>
                  </a:cubicBezTo>
                  <a:lnTo>
                    <a:pt x="6470596" y="910273"/>
                  </a:lnTo>
                  <a:lnTo>
                    <a:pt x="6489484" y="910273"/>
                  </a:lnTo>
                  <a:lnTo>
                    <a:pt x="6489484" y="916366"/>
                  </a:lnTo>
                  <a:cubicBezTo>
                    <a:pt x="6483391" y="916366"/>
                    <a:pt x="6476932" y="916366"/>
                    <a:pt x="6470413" y="916366"/>
                  </a:cubicBezTo>
                  <a:cubicBezTo>
                    <a:pt x="6452560" y="916366"/>
                    <a:pt x="6434647" y="916732"/>
                    <a:pt x="6416368" y="917402"/>
                  </a:cubicBezTo>
                  <a:close/>
                  <a:moveTo>
                    <a:pt x="11519948" y="807363"/>
                  </a:moveTo>
                  <a:lnTo>
                    <a:pt x="11514464" y="804743"/>
                  </a:lnTo>
                  <a:cubicBezTo>
                    <a:pt x="11524273" y="784332"/>
                    <a:pt x="11534510" y="762702"/>
                    <a:pt x="11545721" y="738573"/>
                  </a:cubicBezTo>
                  <a:lnTo>
                    <a:pt x="11551205" y="741194"/>
                  </a:lnTo>
                  <a:cubicBezTo>
                    <a:pt x="11540542" y="765322"/>
                    <a:pt x="11530062" y="786951"/>
                    <a:pt x="11520192" y="807363"/>
                  </a:cubicBezTo>
                  <a:close/>
                  <a:moveTo>
                    <a:pt x="11581730" y="674597"/>
                  </a:moveTo>
                  <a:lnTo>
                    <a:pt x="11576185" y="672099"/>
                  </a:lnTo>
                  <a:lnTo>
                    <a:pt x="11606650" y="605443"/>
                  </a:lnTo>
                  <a:lnTo>
                    <a:pt x="11612195" y="607940"/>
                  </a:lnTo>
                  <a:close/>
                  <a:moveTo>
                    <a:pt x="11642660" y="541406"/>
                  </a:moveTo>
                  <a:lnTo>
                    <a:pt x="11637115" y="538846"/>
                  </a:lnTo>
                  <a:cubicBezTo>
                    <a:pt x="11648387" y="514475"/>
                    <a:pt x="11658623" y="492845"/>
                    <a:pt x="11668433" y="472677"/>
                  </a:cubicBezTo>
                  <a:lnTo>
                    <a:pt x="11673917" y="475297"/>
                  </a:lnTo>
                  <a:cubicBezTo>
                    <a:pt x="11664168" y="495526"/>
                    <a:pt x="11653993" y="517095"/>
                    <a:pt x="11642721" y="541406"/>
                  </a:cubicBezTo>
                  <a:close/>
                  <a:moveTo>
                    <a:pt x="11706636" y="409798"/>
                  </a:moveTo>
                  <a:lnTo>
                    <a:pt x="11701213" y="407056"/>
                  </a:lnTo>
                  <a:cubicBezTo>
                    <a:pt x="11713034" y="384146"/>
                    <a:pt x="11724428" y="363065"/>
                    <a:pt x="11735943" y="342531"/>
                  </a:cubicBezTo>
                  <a:lnTo>
                    <a:pt x="11741304" y="345517"/>
                  </a:lnTo>
                  <a:cubicBezTo>
                    <a:pt x="11729789" y="365989"/>
                    <a:pt x="11718456" y="387010"/>
                    <a:pt x="11706697" y="409798"/>
                  </a:cubicBezTo>
                  <a:close/>
                  <a:moveTo>
                    <a:pt x="11778167" y="282760"/>
                  </a:moveTo>
                  <a:lnTo>
                    <a:pt x="11772988" y="279530"/>
                  </a:lnTo>
                  <a:cubicBezTo>
                    <a:pt x="11786088" y="258449"/>
                    <a:pt x="11799614" y="237855"/>
                    <a:pt x="11813202" y="218601"/>
                  </a:cubicBezTo>
                  <a:lnTo>
                    <a:pt x="11818197" y="222074"/>
                  </a:lnTo>
                  <a:cubicBezTo>
                    <a:pt x="11804915" y="241206"/>
                    <a:pt x="11791450" y="261861"/>
                    <a:pt x="11778167" y="282760"/>
                  </a:cubicBezTo>
                  <a:close/>
                  <a:moveTo>
                    <a:pt x="11861458" y="163155"/>
                  </a:moveTo>
                  <a:lnTo>
                    <a:pt x="11856705" y="159377"/>
                  </a:lnTo>
                  <a:cubicBezTo>
                    <a:pt x="11871755" y="140123"/>
                    <a:pt x="11887535" y="121235"/>
                    <a:pt x="11903560" y="103078"/>
                  </a:cubicBezTo>
                  <a:lnTo>
                    <a:pt x="11908129" y="107161"/>
                  </a:lnTo>
                  <a:cubicBezTo>
                    <a:pt x="11892410" y="125135"/>
                    <a:pt x="11876690" y="144023"/>
                    <a:pt x="11861701" y="163155"/>
                  </a:cubicBezTo>
                  <a:close/>
                  <a:moveTo>
                    <a:pt x="11958153" y="54152"/>
                  </a:moveTo>
                  <a:lnTo>
                    <a:pt x="11953827" y="49826"/>
                  </a:lnTo>
                  <a:cubicBezTo>
                    <a:pt x="11971009" y="32766"/>
                    <a:pt x="11989044" y="15888"/>
                    <a:pt x="12007384" y="-197"/>
                  </a:cubicBezTo>
                  <a:lnTo>
                    <a:pt x="12011405" y="4372"/>
                  </a:lnTo>
                  <a:cubicBezTo>
                    <a:pt x="11993370" y="20397"/>
                    <a:pt x="11975457" y="37153"/>
                    <a:pt x="11958396" y="54152"/>
                  </a:cubicBezTo>
                  <a:close/>
                </a:path>
              </a:pathLst>
            </a:custGeom>
            <a:solidFill>
              <a:schemeClr val="bg1"/>
            </a:solidFill>
            <a:ln w="6093"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116F4E8-5092-1EE2-7CFC-0C07B47102BB}"/>
                </a:ext>
              </a:extLst>
            </p:cNvPr>
            <p:cNvSpPr/>
            <p:nvPr/>
          </p:nvSpPr>
          <p:spPr>
            <a:xfrm>
              <a:off x="12157513" y="1776103"/>
              <a:ext cx="32902" cy="26747"/>
            </a:xfrm>
            <a:custGeom>
              <a:avLst/>
              <a:gdLst>
                <a:gd name="connsiteX0" fmla="*/ 3717 w 32902"/>
                <a:gd name="connsiteY0" fmla="*/ 26551 h 26747"/>
                <a:gd name="connsiteX1" fmla="*/ 0 w 32902"/>
                <a:gd name="connsiteY1" fmla="*/ 21737 h 26747"/>
                <a:gd name="connsiteX2" fmla="*/ 29368 w 32902"/>
                <a:gd name="connsiteY2" fmla="*/ -197 h 26747"/>
                <a:gd name="connsiteX3" fmla="*/ 32903 w 32902"/>
                <a:gd name="connsiteY3" fmla="*/ 4738 h 26747"/>
                <a:gd name="connsiteX4" fmla="*/ 3717 w 32902"/>
                <a:gd name="connsiteY4" fmla="*/ 26551 h 26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02" h="26747">
                  <a:moveTo>
                    <a:pt x="3717" y="26551"/>
                  </a:moveTo>
                  <a:lnTo>
                    <a:pt x="0" y="21737"/>
                  </a:lnTo>
                  <a:cubicBezTo>
                    <a:pt x="9627" y="14304"/>
                    <a:pt x="19498" y="6931"/>
                    <a:pt x="29368" y="-197"/>
                  </a:cubicBezTo>
                  <a:lnTo>
                    <a:pt x="32903" y="4738"/>
                  </a:lnTo>
                  <a:cubicBezTo>
                    <a:pt x="23153" y="12110"/>
                    <a:pt x="13344" y="19178"/>
                    <a:pt x="3717" y="26551"/>
                  </a:cubicBezTo>
                  <a:close/>
                </a:path>
              </a:pathLst>
            </a:custGeom>
            <a:solidFill>
              <a:schemeClr val="bg1"/>
            </a:solidFill>
            <a:ln w="6093"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3F663171-48FC-C0E3-AB67-021FC712E94E}"/>
                </a:ext>
              </a:extLst>
            </p:cNvPr>
            <p:cNvSpPr/>
            <p:nvPr/>
          </p:nvSpPr>
          <p:spPr>
            <a:xfrm>
              <a:off x="0" y="1381766"/>
              <a:ext cx="12191756" cy="4095318"/>
            </a:xfrm>
            <a:custGeom>
              <a:avLst/>
              <a:gdLst>
                <a:gd name="connsiteX0" fmla="*/ 5484 w 12191756"/>
                <a:gd name="connsiteY0" fmla="*/ 4095121 h 4095318"/>
                <a:gd name="connsiteX1" fmla="*/ 0 w 12191756"/>
                <a:gd name="connsiteY1" fmla="*/ 4092379 h 4095318"/>
                <a:gd name="connsiteX2" fmla="*/ 34730 w 12191756"/>
                <a:gd name="connsiteY2" fmla="*/ 4026819 h 4095318"/>
                <a:gd name="connsiteX3" fmla="*/ 40092 w 12191756"/>
                <a:gd name="connsiteY3" fmla="*/ 4029743 h 4095318"/>
                <a:gd name="connsiteX4" fmla="*/ 5484 w 12191756"/>
                <a:gd name="connsiteY4" fmla="*/ 4095121 h 4095318"/>
                <a:gd name="connsiteX5" fmla="*/ 75309 w 12191756"/>
                <a:gd name="connsiteY5" fmla="*/ 3965158 h 4095318"/>
                <a:gd name="connsiteX6" fmla="*/ 70008 w 12191756"/>
                <a:gd name="connsiteY6" fmla="*/ 3962234 h 4095318"/>
                <a:gd name="connsiteX7" fmla="*/ 105774 w 12191756"/>
                <a:gd name="connsiteY7" fmla="*/ 3898075 h 4095318"/>
                <a:gd name="connsiteX8" fmla="*/ 111075 w 12191756"/>
                <a:gd name="connsiteY8" fmla="*/ 3901060 h 4095318"/>
                <a:gd name="connsiteX9" fmla="*/ 75309 w 12191756"/>
                <a:gd name="connsiteY9" fmla="*/ 3965158 h 4095318"/>
                <a:gd name="connsiteX10" fmla="*/ 12185664 w 12191756"/>
                <a:gd name="connsiteY10" fmla="*/ 3865538 h 4095318"/>
                <a:gd name="connsiteX11" fmla="*/ 12176890 w 12191756"/>
                <a:gd name="connsiteY11" fmla="*/ 3822583 h 4095318"/>
                <a:gd name="connsiteX12" fmla="*/ 12182983 w 12191756"/>
                <a:gd name="connsiteY12" fmla="*/ 3821364 h 4095318"/>
                <a:gd name="connsiteX13" fmla="*/ 12191757 w 12191756"/>
                <a:gd name="connsiteY13" fmla="*/ 3864015 h 4095318"/>
                <a:gd name="connsiteX14" fmla="*/ 147389 w 12191756"/>
                <a:gd name="connsiteY14" fmla="*/ 3837328 h 4095318"/>
                <a:gd name="connsiteX15" fmla="*/ 142088 w 12191756"/>
                <a:gd name="connsiteY15" fmla="*/ 3834282 h 4095318"/>
                <a:gd name="connsiteX16" fmla="*/ 178646 w 12191756"/>
                <a:gd name="connsiteY16" fmla="*/ 3770854 h 4095318"/>
                <a:gd name="connsiteX17" fmla="*/ 183947 w 12191756"/>
                <a:gd name="connsiteY17" fmla="*/ 3773900 h 4095318"/>
                <a:gd name="connsiteX18" fmla="*/ 147389 w 12191756"/>
                <a:gd name="connsiteY18" fmla="*/ 3837328 h 4095318"/>
                <a:gd name="connsiteX19" fmla="*/ 12161962 w 12191756"/>
                <a:gd name="connsiteY19" fmla="*/ 3751113 h 4095318"/>
                <a:gd name="connsiteX20" fmla="*/ 12146730 w 12191756"/>
                <a:gd name="connsiteY20" fmla="*/ 3679582 h 4095318"/>
                <a:gd name="connsiteX21" fmla="*/ 12152823 w 12191756"/>
                <a:gd name="connsiteY21" fmla="*/ 3678302 h 4095318"/>
                <a:gd name="connsiteX22" fmla="*/ 12168055 w 12191756"/>
                <a:gd name="connsiteY22" fmla="*/ 3749833 h 4095318"/>
                <a:gd name="connsiteX23" fmla="*/ 221418 w 12191756"/>
                <a:gd name="connsiteY23" fmla="*/ 3710838 h 4095318"/>
                <a:gd name="connsiteX24" fmla="*/ 216178 w 12191756"/>
                <a:gd name="connsiteY24" fmla="*/ 3707670 h 4095318"/>
                <a:gd name="connsiteX25" fmla="*/ 253894 w 12191756"/>
                <a:gd name="connsiteY25" fmla="*/ 3644852 h 4095318"/>
                <a:gd name="connsiteX26" fmla="*/ 259073 w 12191756"/>
                <a:gd name="connsiteY26" fmla="*/ 3648020 h 4095318"/>
                <a:gd name="connsiteX27" fmla="*/ 221418 w 12191756"/>
                <a:gd name="connsiteY27" fmla="*/ 3710838 h 4095318"/>
                <a:gd name="connsiteX28" fmla="*/ 12131192 w 12191756"/>
                <a:gd name="connsiteY28" fmla="*/ 3608172 h 4095318"/>
                <a:gd name="connsiteX29" fmla="*/ 12115351 w 12191756"/>
                <a:gd name="connsiteY29" fmla="*/ 3536763 h 4095318"/>
                <a:gd name="connsiteX30" fmla="*/ 12121444 w 12191756"/>
                <a:gd name="connsiteY30" fmla="*/ 3535422 h 4095318"/>
                <a:gd name="connsiteX31" fmla="*/ 12137285 w 12191756"/>
                <a:gd name="connsiteY31" fmla="*/ 3606832 h 4095318"/>
                <a:gd name="connsiteX32" fmla="*/ 297276 w 12191756"/>
                <a:gd name="connsiteY32" fmla="*/ 3585445 h 4095318"/>
                <a:gd name="connsiteX33" fmla="*/ 292036 w 12191756"/>
                <a:gd name="connsiteY33" fmla="*/ 3582277 h 4095318"/>
                <a:gd name="connsiteX34" fmla="*/ 330665 w 12191756"/>
                <a:gd name="connsiteY34" fmla="*/ 3520007 h 4095318"/>
                <a:gd name="connsiteX35" fmla="*/ 335844 w 12191756"/>
                <a:gd name="connsiteY35" fmla="*/ 3523236 h 4095318"/>
                <a:gd name="connsiteX36" fmla="*/ 297276 w 12191756"/>
                <a:gd name="connsiteY36" fmla="*/ 3585445 h 4095318"/>
                <a:gd name="connsiteX37" fmla="*/ 12099326 w 12191756"/>
                <a:gd name="connsiteY37" fmla="*/ 3465475 h 4095318"/>
                <a:gd name="connsiteX38" fmla="*/ 12082815 w 12191756"/>
                <a:gd name="connsiteY38" fmla="*/ 3394248 h 4095318"/>
                <a:gd name="connsiteX39" fmla="*/ 12088908 w 12191756"/>
                <a:gd name="connsiteY39" fmla="*/ 3392847 h 4095318"/>
                <a:gd name="connsiteX40" fmla="*/ 12105419 w 12191756"/>
                <a:gd name="connsiteY40" fmla="*/ 3464135 h 4095318"/>
                <a:gd name="connsiteX41" fmla="*/ 374900 w 12191756"/>
                <a:gd name="connsiteY41" fmla="*/ 3461271 h 4095318"/>
                <a:gd name="connsiteX42" fmla="*/ 369782 w 12191756"/>
                <a:gd name="connsiteY42" fmla="*/ 3458042 h 4095318"/>
                <a:gd name="connsiteX43" fmla="*/ 409325 w 12191756"/>
                <a:gd name="connsiteY43" fmla="*/ 3396320 h 4095318"/>
                <a:gd name="connsiteX44" fmla="*/ 414443 w 12191756"/>
                <a:gd name="connsiteY44" fmla="*/ 3399671 h 4095318"/>
                <a:gd name="connsiteX45" fmla="*/ 374900 w 12191756"/>
                <a:gd name="connsiteY45" fmla="*/ 3461271 h 4095318"/>
                <a:gd name="connsiteX46" fmla="*/ 454108 w 12191756"/>
                <a:gd name="connsiteY46" fmla="*/ 3338376 h 4095318"/>
                <a:gd name="connsiteX47" fmla="*/ 449051 w 12191756"/>
                <a:gd name="connsiteY47" fmla="*/ 3335025 h 4095318"/>
                <a:gd name="connsiteX48" fmla="*/ 489508 w 12191756"/>
                <a:gd name="connsiteY48" fmla="*/ 3274096 h 4095318"/>
                <a:gd name="connsiteX49" fmla="*/ 494566 w 12191756"/>
                <a:gd name="connsiteY49" fmla="*/ 3277447 h 4095318"/>
                <a:gd name="connsiteX50" fmla="*/ 454413 w 12191756"/>
                <a:gd name="connsiteY50" fmla="*/ 3338376 h 4095318"/>
                <a:gd name="connsiteX51" fmla="*/ 12065511 w 12191756"/>
                <a:gd name="connsiteY51" fmla="*/ 3323144 h 4095318"/>
                <a:gd name="connsiteX52" fmla="*/ 12048267 w 12191756"/>
                <a:gd name="connsiteY52" fmla="*/ 3252039 h 4095318"/>
                <a:gd name="connsiteX53" fmla="*/ 12054360 w 12191756"/>
                <a:gd name="connsiteY53" fmla="*/ 3250576 h 4095318"/>
                <a:gd name="connsiteX54" fmla="*/ 12071543 w 12191756"/>
                <a:gd name="connsiteY54" fmla="*/ 3321681 h 4095318"/>
                <a:gd name="connsiteX55" fmla="*/ 535815 w 12191756"/>
                <a:gd name="connsiteY55" fmla="*/ 3216700 h 4095318"/>
                <a:gd name="connsiteX56" fmla="*/ 530819 w 12191756"/>
                <a:gd name="connsiteY56" fmla="*/ 3213227 h 4095318"/>
                <a:gd name="connsiteX57" fmla="*/ 572251 w 12191756"/>
                <a:gd name="connsiteY57" fmla="*/ 3152846 h 4095318"/>
                <a:gd name="connsiteX58" fmla="*/ 577247 w 12191756"/>
                <a:gd name="connsiteY58" fmla="*/ 3156380 h 4095318"/>
                <a:gd name="connsiteX59" fmla="*/ 535815 w 12191756"/>
                <a:gd name="connsiteY59" fmla="*/ 3216700 h 4095318"/>
                <a:gd name="connsiteX60" fmla="*/ 6457313 w 12191756"/>
                <a:gd name="connsiteY60" fmla="*/ 3209510 h 4095318"/>
                <a:gd name="connsiteX61" fmla="*/ 6421852 w 12191756"/>
                <a:gd name="connsiteY61" fmla="*/ 3209510 h 4095318"/>
                <a:gd name="connsiteX62" fmla="*/ 6421852 w 12191756"/>
                <a:gd name="connsiteY62" fmla="*/ 3203417 h 4095318"/>
                <a:gd name="connsiteX63" fmla="*/ 6494967 w 12191756"/>
                <a:gd name="connsiteY63" fmla="*/ 3203417 h 4095318"/>
                <a:gd name="connsiteX64" fmla="*/ 6494967 w 12191756"/>
                <a:gd name="connsiteY64" fmla="*/ 3209510 h 4095318"/>
                <a:gd name="connsiteX65" fmla="*/ 6457313 w 12191756"/>
                <a:gd name="connsiteY65" fmla="*/ 3209510 h 4095318"/>
                <a:gd name="connsiteX66" fmla="*/ 6348676 w 12191756"/>
                <a:gd name="connsiteY66" fmla="*/ 3207195 h 4095318"/>
                <a:gd name="connsiteX67" fmla="*/ 6275560 w 12191756"/>
                <a:gd name="connsiteY67" fmla="*/ 3203234 h 4095318"/>
                <a:gd name="connsiteX68" fmla="*/ 6275925 w 12191756"/>
                <a:gd name="connsiteY68" fmla="*/ 3197141 h 4095318"/>
                <a:gd name="connsiteX69" fmla="*/ 6349041 w 12191756"/>
                <a:gd name="connsiteY69" fmla="*/ 3201102 h 4095318"/>
                <a:gd name="connsiteX70" fmla="*/ 6568022 w 12191756"/>
                <a:gd name="connsiteY70" fmla="*/ 3207195 h 4095318"/>
                <a:gd name="connsiteX71" fmla="*/ 6568022 w 12191756"/>
                <a:gd name="connsiteY71" fmla="*/ 3201102 h 4095318"/>
                <a:gd name="connsiteX72" fmla="*/ 6641137 w 12191756"/>
                <a:gd name="connsiteY72" fmla="*/ 3196349 h 4095318"/>
                <a:gd name="connsiteX73" fmla="*/ 6641625 w 12191756"/>
                <a:gd name="connsiteY73" fmla="*/ 3202442 h 4095318"/>
                <a:gd name="connsiteX74" fmla="*/ 6568205 w 12191756"/>
                <a:gd name="connsiteY74" fmla="*/ 3206890 h 4095318"/>
                <a:gd name="connsiteX75" fmla="*/ 6202445 w 12191756"/>
                <a:gd name="connsiteY75" fmla="*/ 3197751 h 4095318"/>
                <a:gd name="connsiteX76" fmla="*/ 6129634 w 12191756"/>
                <a:gd name="connsiteY76" fmla="*/ 3190378 h 4095318"/>
                <a:gd name="connsiteX77" fmla="*/ 6130304 w 12191756"/>
                <a:gd name="connsiteY77" fmla="*/ 3184285 h 4095318"/>
                <a:gd name="connsiteX78" fmla="*/ 6202993 w 12191756"/>
                <a:gd name="connsiteY78" fmla="*/ 3191719 h 4095318"/>
                <a:gd name="connsiteX79" fmla="*/ 6714253 w 12191756"/>
                <a:gd name="connsiteY79" fmla="*/ 3195009 h 4095318"/>
                <a:gd name="connsiteX80" fmla="*/ 6713522 w 12191756"/>
                <a:gd name="connsiteY80" fmla="*/ 3188916 h 4095318"/>
                <a:gd name="connsiteX81" fmla="*/ 6785784 w 12191756"/>
                <a:gd name="connsiteY81" fmla="*/ 3178558 h 4095318"/>
                <a:gd name="connsiteX82" fmla="*/ 6786759 w 12191756"/>
                <a:gd name="connsiteY82" fmla="*/ 3184651 h 4095318"/>
                <a:gd name="connsiteX83" fmla="*/ 6714131 w 12191756"/>
                <a:gd name="connsiteY83" fmla="*/ 3194704 h 4095318"/>
                <a:gd name="connsiteX84" fmla="*/ 6057311 w 12191756"/>
                <a:gd name="connsiteY84" fmla="*/ 3181422 h 4095318"/>
                <a:gd name="connsiteX85" fmla="*/ 5984865 w 12191756"/>
                <a:gd name="connsiteY85" fmla="*/ 3171002 h 4095318"/>
                <a:gd name="connsiteX86" fmla="*/ 5985779 w 12191756"/>
                <a:gd name="connsiteY86" fmla="*/ 3164910 h 4095318"/>
                <a:gd name="connsiteX87" fmla="*/ 6058103 w 12191756"/>
                <a:gd name="connsiteY87" fmla="*/ 3175268 h 4095318"/>
                <a:gd name="connsiteX88" fmla="*/ 12031147 w 12191756"/>
                <a:gd name="connsiteY88" fmla="*/ 3181422 h 4095318"/>
                <a:gd name="connsiteX89" fmla="*/ 12013294 w 12191756"/>
                <a:gd name="connsiteY89" fmla="*/ 3110499 h 4095318"/>
                <a:gd name="connsiteX90" fmla="*/ 12019387 w 12191756"/>
                <a:gd name="connsiteY90" fmla="*/ 3108976 h 4095318"/>
                <a:gd name="connsiteX91" fmla="*/ 12037301 w 12191756"/>
                <a:gd name="connsiteY91" fmla="*/ 3179898 h 4095318"/>
                <a:gd name="connsiteX92" fmla="*/ 6858777 w 12191756"/>
                <a:gd name="connsiteY92" fmla="*/ 3171124 h 4095318"/>
                <a:gd name="connsiteX93" fmla="*/ 6857498 w 12191756"/>
                <a:gd name="connsiteY93" fmla="*/ 3165032 h 4095318"/>
                <a:gd name="connsiteX94" fmla="*/ 6928420 w 12191756"/>
                <a:gd name="connsiteY94" fmla="*/ 3148032 h 4095318"/>
                <a:gd name="connsiteX95" fmla="*/ 6930005 w 12191756"/>
                <a:gd name="connsiteY95" fmla="*/ 3154125 h 4095318"/>
                <a:gd name="connsiteX96" fmla="*/ 6858656 w 12191756"/>
                <a:gd name="connsiteY96" fmla="*/ 3170820 h 4095318"/>
                <a:gd name="connsiteX97" fmla="*/ 5912603 w 12191756"/>
                <a:gd name="connsiteY97" fmla="*/ 3158939 h 4095318"/>
                <a:gd name="connsiteX98" fmla="*/ 5840584 w 12191756"/>
                <a:gd name="connsiteY98" fmla="*/ 3145900 h 4095318"/>
                <a:gd name="connsiteX99" fmla="*/ 5841742 w 12191756"/>
                <a:gd name="connsiteY99" fmla="*/ 3139807 h 4095318"/>
                <a:gd name="connsiteX100" fmla="*/ 5913639 w 12191756"/>
                <a:gd name="connsiteY100" fmla="*/ 3152846 h 4095318"/>
                <a:gd name="connsiteX101" fmla="*/ 7000256 w 12191756"/>
                <a:gd name="connsiteY101" fmla="*/ 3132922 h 4095318"/>
                <a:gd name="connsiteX102" fmla="*/ 6998367 w 12191756"/>
                <a:gd name="connsiteY102" fmla="*/ 3126829 h 4095318"/>
                <a:gd name="connsiteX103" fmla="*/ 7050828 w 12191756"/>
                <a:gd name="connsiteY103" fmla="*/ 3108550 h 4095318"/>
                <a:gd name="connsiteX104" fmla="*/ 7066913 w 12191756"/>
                <a:gd name="connsiteY104" fmla="*/ 3102457 h 4095318"/>
                <a:gd name="connsiteX105" fmla="*/ 7069167 w 12191756"/>
                <a:gd name="connsiteY105" fmla="*/ 3108123 h 4095318"/>
                <a:gd name="connsiteX106" fmla="*/ 7052960 w 12191756"/>
                <a:gd name="connsiteY106" fmla="*/ 3114216 h 4095318"/>
                <a:gd name="connsiteX107" fmla="*/ 7000134 w 12191756"/>
                <a:gd name="connsiteY107" fmla="*/ 3132922 h 4095318"/>
                <a:gd name="connsiteX108" fmla="*/ 5768809 w 12191756"/>
                <a:gd name="connsiteY108" fmla="*/ 3131703 h 4095318"/>
                <a:gd name="connsiteX109" fmla="*/ 5697278 w 12191756"/>
                <a:gd name="connsiteY109" fmla="*/ 3116288 h 4095318"/>
                <a:gd name="connsiteX110" fmla="*/ 5698557 w 12191756"/>
                <a:gd name="connsiteY110" fmla="*/ 3110195 h 4095318"/>
                <a:gd name="connsiteX111" fmla="*/ 5770028 w 12191756"/>
                <a:gd name="connsiteY111" fmla="*/ 3125549 h 4095318"/>
                <a:gd name="connsiteX112" fmla="*/ 5625929 w 12191756"/>
                <a:gd name="connsiteY112" fmla="*/ 3099837 h 4095318"/>
                <a:gd name="connsiteX113" fmla="*/ 5554885 w 12191756"/>
                <a:gd name="connsiteY113" fmla="*/ 3082350 h 4095318"/>
                <a:gd name="connsiteX114" fmla="*/ 5556409 w 12191756"/>
                <a:gd name="connsiteY114" fmla="*/ 3076257 h 4095318"/>
                <a:gd name="connsiteX115" fmla="*/ 5627392 w 12191756"/>
                <a:gd name="connsiteY115" fmla="*/ 3093744 h 4095318"/>
                <a:gd name="connsiteX116" fmla="*/ 619349 w 12191756"/>
                <a:gd name="connsiteY116" fmla="*/ 3096364 h 4095318"/>
                <a:gd name="connsiteX117" fmla="*/ 614353 w 12191756"/>
                <a:gd name="connsiteY117" fmla="*/ 3092891 h 4095318"/>
                <a:gd name="connsiteX118" fmla="*/ 657004 w 12191756"/>
                <a:gd name="connsiteY118" fmla="*/ 3033241 h 4095318"/>
                <a:gd name="connsiteX119" fmla="*/ 661939 w 12191756"/>
                <a:gd name="connsiteY119" fmla="*/ 3036775 h 4095318"/>
                <a:gd name="connsiteX120" fmla="*/ 619227 w 12191756"/>
                <a:gd name="connsiteY120" fmla="*/ 3096364 h 4095318"/>
                <a:gd name="connsiteX121" fmla="*/ 7136251 w 12191756"/>
                <a:gd name="connsiteY121" fmla="*/ 3078694 h 4095318"/>
                <a:gd name="connsiteX122" fmla="*/ 7133631 w 12191756"/>
                <a:gd name="connsiteY122" fmla="*/ 3073211 h 4095318"/>
                <a:gd name="connsiteX123" fmla="*/ 7198521 w 12191756"/>
                <a:gd name="connsiteY123" fmla="*/ 3040126 h 4095318"/>
                <a:gd name="connsiteX124" fmla="*/ 7201445 w 12191756"/>
                <a:gd name="connsiteY124" fmla="*/ 3045427 h 4095318"/>
                <a:gd name="connsiteX125" fmla="*/ 7136129 w 12191756"/>
                <a:gd name="connsiteY125" fmla="*/ 3078694 h 4095318"/>
                <a:gd name="connsiteX126" fmla="*/ 5483963 w 12191756"/>
                <a:gd name="connsiteY126" fmla="*/ 3063889 h 4095318"/>
                <a:gd name="connsiteX127" fmla="*/ 5413407 w 12191756"/>
                <a:gd name="connsiteY127" fmla="*/ 3044513 h 4095318"/>
                <a:gd name="connsiteX128" fmla="*/ 5415052 w 12191756"/>
                <a:gd name="connsiteY128" fmla="*/ 3038420 h 4095318"/>
                <a:gd name="connsiteX129" fmla="*/ 5485548 w 12191756"/>
                <a:gd name="connsiteY129" fmla="*/ 3057735 h 4095318"/>
                <a:gd name="connsiteX130" fmla="*/ 11994893 w 12191756"/>
                <a:gd name="connsiteY130" fmla="*/ 3039517 h 4095318"/>
                <a:gd name="connsiteX131" fmla="*/ 11976614 w 12191756"/>
                <a:gd name="connsiteY131" fmla="*/ 2968838 h 4095318"/>
                <a:gd name="connsiteX132" fmla="*/ 11982707 w 12191756"/>
                <a:gd name="connsiteY132" fmla="*/ 2967254 h 4095318"/>
                <a:gd name="connsiteX133" fmla="*/ 12001291 w 12191756"/>
                <a:gd name="connsiteY133" fmla="*/ 3037994 h 4095318"/>
                <a:gd name="connsiteX134" fmla="*/ 5343094 w 12191756"/>
                <a:gd name="connsiteY134" fmla="*/ 3024223 h 4095318"/>
                <a:gd name="connsiteX135" fmla="*/ 5273025 w 12191756"/>
                <a:gd name="connsiteY135" fmla="*/ 3003081 h 4095318"/>
                <a:gd name="connsiteX136" fmla="*/ 5274854 w 12191756"/>
                <a:gd name="connsiteY136" fmla="*/ 2996988 h 4095318"/>
                <a:gd name="connsiteX137" fmla="*/ 5344801 w 12191756"/>
                <a:gd name="connsiteY137" fmla="*/ 3018130 h 4095318"/>
                <a:gd name="connsiteX138" fmla="*/ 7264690 w 12191756"/>
                <a:gd name="connsiteY138" fmla="*/ 3008747 h 4095318"/>
                <a:gd name="connsiteX139" fmla="*/ 7261461 w 12191756"/>
                <a:gd name="connsiteY139" fmla="*/ 3003507 h 4095318"/>
                <a:gd name="connsiteX140" fmla="*/ 7322817 w 12191756"/>
                <a:gd name="connsiteY140" fmla="*/ 2963964 h 4095318"/>
                <a:gd name="connsiteX141" fmla="*/ 7326229 w 12191756"/>
                <a:gd name="connsiteY141" fmla="*/ 2969021 h 4095318"/>
                <a:gd name="connsiteX142" fmla="*/ 7264690 w 12191756"/>
                <a:gd name="connsiteY142" fmla="*/ 3008747 h 4095318"/>
                <a:gd name="connsiteX143" fmla="*/ 5203261 w 12191756"/>
                <a:gd name="connsiteY143" fmla="*/ 2981085 h 4095318"/>
                <a:gd name="connsiteX144" fmla="*/ 5133741 w 12191756"/>
                <a:gd name="connsiteY144" fmla="*/ 2958298 h 4095318"/>
                <a:gd name="connsiteX145" fmla="*/ 5135629 w 12191756"/>
                <a:gd name="connsiteY145" fmla="*/ 2952205 h 4095318"/>
                <a:gd name="connsiteX146" fmla="*/ 5205150 w 12191756"/>
                <a:gd name="connsiteY146" fmla="*/ 2974992 h 4095318"/>
                <a:gd name="connsiteX147" fmla="*/ 704711 w 12191756"/>
                <a:gd name="connsiteY147" fmla="*/ 2977673 h 4095318"/>
                <a:gd name="connsiteX148" fmla="*/ 699776 w 12191756"/>
                <a:gd name="connsiteY148" fmla="*/ 2974078 h 4095318"/>
                <a:gd name="connsiteX149" fmla="*/ 743341 w 12191756"/>
                <a:gd name="connsiteY149" fmla="*/ 2915220 h 4095318"/>
                <a:gd name="connsiteX150" fmla="*/ 748215 w 12191756"/>
                <a:gd name="connsiteY150" fmla="*/ 2918876 h 4095318"/>
                <a:gd name="connsiteX151" fmla="*/ 704711 w 12191756"/>
                <a:gd name="connsiteY151" fmla="*/ 2977673 h 4095318"/>
                <a:gd name="connsiteX152" fmla="*/ 5064464 w 12191756"/>
                <a:gd name="connsiteY152" fmla="*/ 2935022 h 4095318"/>
                <a:gd name="connsiteX153" fmla="*/ 4995430 w 12191756"/>
                <a:gd name="connsiteY153" fmla="*/ 2910651 h 4095318"/>
                <a:gd name="connsiteX154" fmla="*/ 4997502 w 12191756"/>
                <a:gd name="connsiteY154" fmla="*/ 2904923 h 4095318"/>
                <a:gd name="connsiteX155" fmla="*/ 5066413 w 12191756"/>
                <a:gd name="connsiteY155" fmla="*/ 2929295 h 4095318"/>
                <a:gd name="connsiteX156" fmla="*/ 7385879 w 12191756"/>
                <a:gd name="connsiteY156" fmla="*/ 2926980 h 4095318"/>
                <a:gd name="connsiteX157" fmla="*/ 7382284 w 12191756"/>
                <a:gd name="connsiteY157" fmla="*/ 2922105 h 4095318"/>
                <a:gd name="connsiteX158" fmla="*/ 7440228 w 12191756"/>
                <a:gd name="connsiteY158" fmla="*/ 2877688 h 4095318"/>
                <a:gd name="connsiteX159" fmla="*/ 7444006 w 12191756"/>
                <a:gd name="connsiteY159" fmla="*/ 2882501 h 4095318"/>
                <a:gd name="connsiteX160" fmla="*/ 7386001 w 12191756"/>
                <a:gd name="connsiteY160" fmla="*/ 2926736 h 4095318"/>
                <a:gd name="connsiteX161" fmla="*/ 11957178 w 12191756"/>
                <a:gd name="connsiteY161" fmla="*/ 2898343 h 4095318"/>
                <a:gd name="connsiteX162" fmla="*/ 11937802 w 12191756"/>
                <a:gd name="connsiteY162" fmla="*/ 2827847 h 4095318"/>
                <a:gd name="connsiteX163" fmla="*/ 11943895 w 12191756"/>
                <a:gd name="connsiteY163" fmla="*/ 2826202 h 4095318"/>
                <a:gd name="connsiteX164" fmla="*/ 11963271 w 12191756"/>
                <a:gd name="connsiteY164" fmla="*/ 2896759 h 4095318"/>
                <a:gd name="connsiteX165" fmla="*/ 4926519 w 12191756"/>
                <a:gd name="connsiteY165" fmla="*/ 2885730 h 4095318"/>
                <a:gd name="connsiteX166" fmla="*/ 4858034 w 12191756"/>
                <a:gd name="connsiteY166" fmla="*/ 2860018 h 4095318"/>
                <a:gd name="connsiteX167" fmla="*/ 4860228 w 12191756"/>
                <a:gd name="connsiteY167" fmla="*/ 2854352 h 4095318"/>
                <a:gd name="connsiteX168" fmla="*/ 4928652 w 12191756"/>
                <a:gd name="connsiteY168" fmla="*/ 2880003 h 4095318"/>
                <a:gd name="connsiteX169" fmla="*/ 792206 w 12191756"/>
                <a:gd name="connsiteY169" fmla="*/ 2860627 h 4095318"/>
                <a:gd name="connsiteX170" fmla="*/ 787393 w 12191756"/>
                <a:gd name="connsiteY170" fmla="*/ 2856911 h 4095318"/>
                <a:gd name="connsiteX171" fmla="*/ 832115 w 12191756"/>
                <a:gd name="connsiteY171" fmla="*/ 2798967 h 4095318"/>
                <a:gd name="connsiteX172" fmla="*/ 836929 w 12191756"/>
                <a:gd name="connsiteY172" fmla="*/ 2802684 h 4095318"/>
                <a:gd name="connsiteX173" fmla="*/ 792328 w 12191756"/>
                <a:gd name="connsiteY173" fmla="*/ 2860384 h 4095318"/>
                <a:gd name="connsiteX174" fmla="*/ 7500548 w 12191756"/>
                <a:gd name="connsiteY174" fmla="*/ 2836256 h 4095318"/>
                <a:gd name="connsiteX175" fmla="*/ 7497075 w 12191756"/>
                <a:gd name="connsiteY175" fmla="*/ 2831442 h 4095318"/>
                <a:gd name="connsiteX176" fmla="*/ 7551912 w 12191756"/>
                <a:gd name="connsiteY176" fmla="*/ 2783369 h 4095318"/>
                <a:gd name="connsiteX177" fmla="*/ 7555994 w 12191756"/>
                <a:gd name="connsiteY177" fmla="*/ 2787938 h 4095318"/>
                <a:gd name="connsiteX178" fmla="*/ 7500731 w 12191756"/>
                <a:gd name="connsiteY178" fmla="*/ 2835768 h 4095318"/>
                <a:gd name="connsiteX179" fmla="*/ 4789732 w 12191756"/>
                <a:gd name="connsiteY179" fmla="*/ 2833880 h 4095318"/>
                <a:gd name="connsiteX180" fmla="*/ 4721735 w 12191756"/>
                <a:gd name="connsiteY180" fmla="*/ 2806827 h 4095318"/>
                <a:gd name="connsiteX181" fmla="*/ 4724050 w 12191756"/>
                <a:gd name="connsiteY181" fmla="*/ 2801160 h 4095318"/>
                <a:gd name="connsiteX182" fmla="*/ 4791987 w 12191756"/>
                <a:gd name="connsiteY182" fmla="*/ 2828213 h 4095318"/>
                <a:gd name="connsiteX183" fmla="*/ 4654042 w 12191756"/>
                <a:gd name="connsiteY183" fmla="*/ 2779043 h 4095318"/>
                <a:gd name="connsiteX184" fmla="*/ 4586593 w 12191756"/>
                <a:gd name="connsiteY184" fmla="*/ 2750711 h 4095318"/>
                <a:gd name="connsiteX185" fmla="*/ 4588970 w 12191756"/>
                <a:gd name="connsiteY185" fmla="*/ 2745105 h 4095318"/>
                <a:gd name="connsiteX186" fmla="*/ 4656358 w 12191756"/>
                <a:gd name="connsiteY186" fmla="*/ 2773437 h 4095318"/>
                <a:gd name="connsiteX187" fmla="*/ 11918000 w 12191756"/>
                <a:gd name="connsiteY187" fmla="*/ 2757657 h 4095318"/>
                <a:gd name="connsiteX188" fmla="*/ 11897894 w 12191756"/>
                <a:gd name="connsiteY188" fmla="*/ 2687344 h 4095318"/>
                <a:gd name="connsiteX189" fmla="*/ 11903987 w 12191756"/>
                <a:gd name="connsiteY189" fmla="*/ 2685638 h 4095318"/>
                <a:gd name="connsiteX190" fmla="*/ 11924154 w 12191756"/>
                <a:gd name="connsiteY190" fmla="*/ 2755950 h 4095318"/>
                <a:gd name="connsiteX191" fmla="*/ 882199 w 12191756"/>
                <a:gd name="connsiteY191" fmla="*/ 2745471 h 4095318"/>
                <a:gd name="connsiteX192" fmla="*/ 877447 w 12191756"/>
                <a:gd name="connsiteY192" fmla="*/ 2741693 h 4095318"/>
                <a:gd name="connsiteX193" fmla="*/ 923266 w 12191756"/>
                <a:gd name="connsiteY193" fmla="*/ 2684846 h 4095318"/>
                <a:gd name="connsiteX194" fmla="*/ 928018 w 12191756"/>
                <a:gd name="connsiteY194" fmla="*/ 2688684 h 4095318"/>
                <a:gd name="connsiteX195" fmla="*/ 882382 w 12191756"/>
                <a:gd name="connsiteY195" fmla="*/ 2744983 h 4095318"/>
                <a:gd name="connsiteX196" fmla="*/ 7609551 w 12191756"/>
                <a:gd name="connsiteY196" fmla="*/ 2738464 h 4095318"/>
                <a:gd name="connsiteX197" fmla="*/ 7605347 w 12191756"/>
                <a:gd name="connsiteY197" fmla="*/ 2734016 h 4095318"/>
                <a:gd name="connsiteX198" fmla="*/ 7657868 w 12191756"/>
                <a:gd name="connsiteY198" fmla="*/ 2683201 h 4095318"/>
                <a:gd name="connsiteX199" fmla="*/ 7662194 w 12191756"/>
                <a:gd name="connsiteY199" fmla="*/ 2687527 h 4095318"/>
                <a:gd name="connsiteX200" fmla="*/ 7609734 w 12191756"/>
                <a:gd name="connsiteY200" fmla="*/ 2737976 h 4095318"/>
                <a:gd name="connsiteX201" fmla="*/ 4519388 w 12191756"/>
                <a:gd name="connsiteY201" fmla="*/ 2721830 h 4095318"/>
                <a:gd name="connsiteX202" fmla="*/ 4452365 w 12191756"/>
                <a:gd name="connsiteY202" fmla="*/ 2692157 h 4095318"/>
                <a:gd name="connsiteX203" fmla="*/ 4454864 w 12191756"/>
                <a:gd name="connsiteY203" fmla="*/ 2686613 h 4095318"/>
                <a:gd name="connsiteX204" fmla="*/ 4521886 w 12191756"/>
                <a:gd name="connsiteY204" fmla="*/ 2716225 h 4095318"/>
                <a:gd name="connsiteX205" fmla="*/ 4385343 w 12191756"/>
                <a:gd name="connsiteY205" fmla="*/ 2661875 h 4095318"/>
                <a:gd name="connsiteX206" fmla="*/ 4318808 w 12191756"/>
                <a:gd name="connsiteY206" fmla="*/ 2631045 h 4095318"/>
                <a:gd name="connsiteX207" fmla="*/ 4321367 w 12191756"/>
                <a:gd name="connsiteY207" fmla="*/ 2625562 h 4095318"/>
                <a:gd name="connsiteX208" fmla="*/ 4387841 w 12191756"/>
                <a:gd name="connsiteY208" fmla="*/ 2656026 h 4095318"/>
                <a:gd name="connsiteX209" fmla="*/ 7713558 w 12191756"/>
                <a:gd name="connsiteY209" fmla="*/ 2635432 h 4095318"/>
                <a:gd name="connsiteX210" fmla="*/ 7709171 w 12191756"/>
                <a:gd name="connsiteY210" fmla="*/ 2631228 h 4095318"/>
                <a:gd name="connsiteX211" fmla="*/ 7759499 w 12191756"/>
                <a:gd name="connsiteY211" fmla="*/ 2578219 h 4095318"/>
                <a:gd name="connsiteX212" fmla="*/ 7763947 w 12191756"/>
                <a:gd name="connsiteY212" fmla="*/ 2582362 h 4095318"/>
                <a:gd name="connsiteX213" fmla="*/ 7713862 w 12191756"/>
                <a:gd name="connsiteY213" fmla="*/ 2634945 h 4095318"/>
                <a:gd name="connsiteX214" fmla="*/ 974751 w 12191756"/>
                <a:gd name="connsiteY214" fmla="*/ 2632325 h 4095318"/>
                <a:gd name="connsiteX215" fmla="*/ 970060 w 12191756"/>
                <a:gd name="connsiteY215" fmla="*/ 2628425 h 4095318"/>
                <a:gd name="connsiteX216" fmla="*/ 1017463 w 12191756"/>
                <a:gd name="connsiteY216" fmla="*/ 2572431 h 4095318"/>
                <a:gd name="connsiteX217" fmla="*/ 1022093 w 12191756"/>
                <a:gd name="connsiteY217" fmla="*/ 2576391 h 4095318"/>
                <a:gd name="connsiteX218" fmla="*/ 974751 w 12191756"/>
                <a:gd name="connsiteY218" fmla="*/ 2631837 h 4095318"/>
                <a:gd name="connsiteX219" fmla="*/ 11877483 w 12191756"/>
                <a:gd name="connsiteY219" fmla="*/ 2617214 h 4095318"/>
                <a:gd name="connsiteX220" fmla="*/ 11856583 w 12191756"/>
                <a:gd name="connsiteY220" fmla="*/ 2547206 h 4095318"/>
                <a:gd name="connsiteX221" fmla="*/ 11862676 w 12191756"/>
                <a:gd name="connsiteY221" fmla="*/ 2545439 h 4095318"/>
                <a:gd name="connsiteX222" fmla="*/ 11883636 w 12191756"/>
                <a:gd name="connsiteY222" fmla="*/ 2615508 h 4095318"/>
                <a:gd name="connsiteX223" fmla="*/ 4252882 w 12191756"/>
                <a:gd name="connsiteY223" fmla="*/ 2599179 h 4095318"/>
                <a:gd name="connsiteX224" fmla="*/ 4187017 w 12191756"/>
                <a:gd name="connsiteY224" fmla="*/ 2567191 h 4095318"/>
                <a:gd name="connsiteX225" fmla="*/ 4189698 w 12191756"/>
                <a:gd name="connsiteY225" fmla="*/ 2561768 h 4095318"/>
                <a:gd name="connsiteX226" fmla="*/ 4255502 w 12191756"/>
                <a:gd name="connsiteY226" fmla="*/ 2593695 h 4095318"/>
                <a:gd name="connsiteX227" fmla="*/ 4121579 w 12191756"/>
                <a:gd name="connsiteY227" fmla="*/ 2534654 h 4095318"/>
                <a:gd name="connsiteX228" fmla="*/ 4056263 w 12191756"/>
                <a:gd name="connsiteY228" fmla="*/ 2501631 h 4095318"/>
                <a:gd name="connsiteX229" fmla="*/ 4059065 w 12191756"/>
                <a:gd name="connsiteY229" fmla="*/ 2496208 h 4095318"/>
                <a:gd name="connsiteX230" fmla="*/ 4124260 w 12191756"/>
                <a:gd name="connsiteY230" fmla="*/ 2529232 h 4095318"/>
                <a:gd name="connsiteX231" fmla="*/ 7813909 w 12191756"/>
                <a:gd name="connsiteY231" fmla="*/ 2527952 h 4095318"/>
                <a:gd name="connsiteX232" fmla="*/ 7809400 w 12191756"/>
                <a:gd name="connsiteY232" fmla="*/ 2523870 h 4095318"/>
                <a:gd name="connsiteX233" fmla="*/ 7858144 w 12191756"/>
                <a:gd name="connsiteY233" fmla="*/ 2469034 h 4095318"/>
                <a:gd name="connsiteX234" fmla="*/ 7862775 w 12191756"/>
                <a:gd name="connsiteY234" fmla="*/ 2473055 h 4095318"/>
                <a:gd name="connsiteX235" fmla="*/ 7813909 w 12191756"/>
                <a:gd name="connsiteY235" fmla="*/ 2527952 h 4095318"/>
                <a:gd name="connsiteX236" fmla="*/ 1070228 w 12191756"/>
                <a:gd name="connsiteY236" fmla="*/ 2520702 h 4095318"/>
                <a:gd name="connsiteX237" fmla="*/ 1065658 w 12191756"/>
                <a:gd name="connsiteY237" fmla="*/ 2516680 h 4095318"/>
                <a:gd name="connsiteX238" fmla="*/ 1114402 w 12191756"/>
                <a:gd name="connsiteY238" fmla="*/ 2461844 h 4095318"/>
                <a:gd name="connsiteX239" fmla="*/ 1118911 w 12191756"/>
                <a:gd name="connsiteY239" fmla="*/ 2465987 h 4095318"/>
                <a:gd name="connsiteX240" fmla="*/ 1070228 w 12191756"/>
                <a:gd name="connsiteY240" fmla="*/ 2520702 h 4095318"/>
                <a:gd name="connsiteX241" fmla="*/ 11835258 w 12191756"/>
                <a:gd name="connsiteY241" fmla="*/ 2476832 h 4095318"/>
                <a:gd name="connsiteX242" fmla="*/ 11813446 w 12191756"/>
                <a:gd name="connsiteY242" fmla="*/ 2407007 h 4095318"/>
                <a:gd name="connsiteX243" fmla="*/ 11819234 w 12191756"/>
                <a:gd name="connsiteY243" fmla="*/ 2405179 h 4095318"/>
                <a:gd name="connsiteX244" fmla="*/ 11841046 w 12191756"/>
                <a:gd name="connsiteY244" fmla="*/ 2475004 h 4095318"/>
                <a:gd name="connsiteX245" fmla="*/ 3991251 w 12191756"/>
                <a:gd name="connsiteY245" fmla="*/ 2467997 h 4095318"/>
                <a:gd name="connsiteX246" fmla="*/ 3926604 w 12191756"/>
                <a:gd name="connsiteY246" fmla="*/ 2433816 h 4095318"/>
                <a:gd name="connsiteX247" fmla="*/ 3929468 w 12191756"/>
                <a:gd name="connsiteY247" fmla="*/ 2428454 h 4095318"/>
                <a:gd name="connsiteX248" fmla="*/ 3994054 w 12191756"/>
                <a:gd name="connsiteY248" fmla="*/ 2462575 h 4095318"/>
                <a:gd name="connsiteX249" fmla="*/ 7910117 w 12191756"/>
                <a:gd name="connsiteY249" fmla="*/ 2417670 h 4095318"/>
                <a:gd name="connsiteX250" fmla="*/ 7905486 w 12191756"/>
                <a:gd name="connsiteY250" fmla="*/ 2413770 h 4095318"/>
                <a:gd name="connsiteX251" fmla="*/ 7952463 w 12191756"/>
                <a:gd name="connsiteY251" fmla="*/ 2357715 h 4095318"/>
                <a:gd name="connsiteX252" fmla="*/ 7957154 w 12191756"/>
                <a:gd name="connsiteY252" fmla="*/ 2361615 h 4095318"/>
                <a:gd name="connsiteX253" fmla="*/ 7910117 w 12191756"/>
                <a:gd name="connsiteY253" fmla="*/ 2417670 h 4095318"/>
                <a:gd name="connsiteX254" fmla="*/ 1168446 w 12191756"/>
                <a:gd name="connsiteY254" fmla="*/ 2412125 h 4095318"/>
                <a:gd name="connsiteX255" fmla="*/ 1163998 w 12191756"/>
                <a:gd name="connsiteY255" fmla="*/ 2407982 h 4095318"/>
                <a:gd name="connsiteX256" fmla="*/ 1214387 w 12191756"/>
                <a:gd name="connsiteY256" fmla="*/ 2354791 h 4095318"/>
                <a:gd name="connsiteX257" fmla="*/ 1218774 w 12191756"/>
                <a:gd name="connsiteY257" fmla="*/ 2359055 h 4095318"/>
                <a:gd name="connsiteX258" fmla="*/ 1168446 w 12191756"/>
                <a:gd name="connsiteY258" fmla="*/ 2412125 h 4095318"/>
                <a:gd name="connsiteX259" fmla="*/ 3862324 w 12191756"/>
                <a:gd name="connsiteY259" fmla="*/ 2398843 h 4095318"/>
                <a:gd name="connsiteX260" fmla="*/ 3798409 w 12191756"/>
                <a:gd name="connsiteY260" fmla="*/ 2363625 h 4095318"/>
                <a:gd name="connsiteX261" fmla="*/ 3801394 w 12191756"/>
                <a:gd name="connsiteY261" fmla="*/ 2358264 h 4095318"/>
                <a:gd name="connsiteX262" fmla="*/ 3865248 w 12191756"/>
                <a:gd name="connsiteY262" fmla="*/ 2393542 h 4095318"/>
                <a:gd name="connsiteX263" fmla="*/ 11791084 w 12191756"/>
                <a:gd name="connsiteY263" fmla="*/ 2337121 h 4095318"/>
                <a:gd name="connsiteX264" fmla="*/ 11768418 w 12191756"/>
                <a:gd name="connsiteY264" fmla="*/ 2267661 h 4095318"/>
                <a:gd name="connsiteX265" fmla="*/ 11774511 w 12191756"/>
                <a:gd name="connsiteY265" fmla="*/ 2265712 h 4095318"/>
                <a:gd name="connsiteX266" fmla="*/ 11797238 w 12191756"/>
                <a:gd name="connsiteY266" fmla="*/ 2335293 h 4095318"/>
                <a:gd name="connsiteX267" fmla="*/ 3734798 w 12191756"/>
                <a:gd name="connsiteY267" fmla="*/ 2328042 h 4095318"/>
                <a:gd name="connsiteX268" fmla="*/ 3671554 w 12191756"/>
                <a:gd name="connsiteY268" fmla="*/ 2291485 h 4095318"/>
                <a:gd name="connsiteX269" fmla="*/ 3674661 w 12191756"/>
                <a:gd name="connsiteY269" fmla="*/ 2286245 h 4095318"/>
                <a:gd name="connsiteX270" fmla="*/ 3737845 w 12191756"/>
                <a:gd name="connsiteY270" fmla="*/ 2322803 h 4095318"/>
                <a:gd name="connsiteX271" fmla="*/ 1270077 w 12191756"/>
                <a:gd name="connsiteY271" fmla="*/ 2306778 h 4095318"/>
                <a:gd name="connsiteX272" fmla="*/ 1265812 w 12191756"/>
                <a:gd name="connsiteY272" fmla="*/ 2302452 h 4095318"/>
                <a:gd name="connsiteX273" fmla="*/ 1317906 w 12191756"/>
                <a:gd name="connsiteY273" fmla="*/ 2251027 h 4095318"/>
                <a:gd name="connsiteX274" fmla="*/ 1322110 w 12191756"/>
                <a:gd name="connsiteY274" fmla="*/ 2255415 h 4095318"/>
                <a:gd name="connsiteX275" fmla="*/ 1270077 w 12191756"/>
                <a:gd name="connsiteY275" fmla="*/ 2306778 h 4095318"/>
                <a:gd name="connsiteX276" fmla="*/ 8003705 w 12191756"/>
                <a:gd name="connsiteY276" fmla="*/ 2304950 h 4095318"/>
                <a:gd name="connsiteX277" fmla="*/ 7998952 w 12191756"/>
                <a:gd name="connsiteY277" fmla="*/ 2301112 h 4095318"/>
                <a:gd name="connsiteX278" fmla="*/ 8044649 w 12191756"/>
                <a:gd name="connsiteY278" fmla="*/ 2243960 h 4095318"/>
                <a:gd name="connsiteX279" fmla="*/ 8049402 w 12191756"/>
                <a:gd name="connsiteY279" fmla="*/ 2247798 h 4095318"/>
                <a:gd name="connsiteX280" fmla="*/ 8003522 w 12191756"/>
                <a:gd name="connsiteY280" fmla="*/ 2304950 h 4095318"/>
                <a:gd name="connsiteX281" fmla="*/ 3608674 w 12191756"/>
                <a:gd name="connsiteY281" fmla="*/ 2254744 h 4095318"/>
                <a:gd name="connsiteX282" fmla="*/ 3545856 w 12191756"/>
                <a:gd name="connsiteY282" fmla="*/ 2217151 h 4095318"/>
                <a:gd name="connsiteX283" fmla="*/ 3549024 w 12191756"/>
                <a:gd name="connsiteY283" fmla="*/ 2211911 h 4095318"/>
                <a:gd name="connsiteX284" fmla="*/ 3611721 w 12191756"/>
                <a:gd name="connsiteY284" fmla="*/ 2249504 h 4095318"/>
                <a:gd name="connsiteX285" fmla="*/ 1375119 w 12191756"/>
                <a:gd name="connsiteY285" fmla="*/ 2205026 h 4095318"/>
                <a:gd name="connsiteX286" fmla="*/ 1370976 w 12191756"/>
                <a:gd name="connsiteY286" fmla="*/ 2200578 h 4095318"/>
                <a:gd name="connsiteX287" fmla="*/ 1425020 w 12191756"/>
                <a:gd name="connsiteY287" fmla="*/ 2151103 h 4095318"/>
                <a:gd name="connsiteX288" fmla="*/ 1429042 w 12191756"/>
                <a:gd name="connsiteY288" fmla="*/ 2155673 h 4095318"/>
                <a:gd name="connsiteX289" fmla="*/ 1374936 w 12191756"/>
                <a:gd name="connsiteY289" fmla="*/ 2205026 h 4095318"/>
                <a:gd name="connsiteX290" fmla="*/ 11745326 w 12191756"/>
                <a:gd name="connsiteY290" fmla="*/ 2198567 h 4095318"/>
                <a:gd name="connsiteX291" fmla="*/ 11721685 w 12191756"/>
                <a:gd name="connsiteY291" fmla="*/ 2129412 h 4095318"/>
                <a:gd name="connsiteX292" fmla="*/ 11727778 w 12191756"/>
                <a:gd name="connsiteY292" fmla="*/ 2127402 h 4095318"/>
                <a:gd name="connsiteX293" fmla="*/ 11751419 w 12191756"/>
                <a:gd name="connsiteY293" fmla="*/ 2196617 h 4095318"/>
                <a:gd name="connsiteX294" fmla="*/ 8094185 w 12191756"/>
                <a:gd name="connsiteY294" fmla="*/ 2190159 h 4095318"/>
                <a:gd name="connsiteX295" fmla="*/ 8089371 w 12191756"/>
                <a:gd name="connsiteY295" fmla="*/ 2186442 h 4095318"/>
                <a:gd name="connsiteX296" fmla="*/ 8133972 w 12191756"/>
                <a:gd name="connsiteY296" fmla="*/ 2128437 h 4095318"/>
                <a:gd name="connsiteX297" fmla="*/ 8138785 w 12191756"/>
                <a:gd name="connsiteY297" fmla="*/ 2132154 h 4095318"/>
                <a:gd name="connsiteX298" fmla="*/ 8094185 w 12191756"/>
                <a:gd name="connsiteY298" fmla="*/ 2190159 h 4095318"/>
                <a:gd name="connsiteX299" fmla="*/ 3482977 w 12191756"/>
                <a:gd name="connsiteY299" fmla="*/ 2179009 h 4095318"/>
                <a:gd name="connsiteX300" fmla="*/ 3420950 w 12191756"/>
                <a:gd name="connsiteY300" fmla="*/ 2140258 h 4095318"/>
                <a:gd name="connsiteX301" fmla="*/ 3424179 w 12191756"/>
                <a:gd name="connsiteY301" fmla="*/ 2135139 h 4095318"/>
                <a:gd name="connsiteX302" fmla="*/ 3486206 w 12191756"/>
                <a:gd name="connsiteY302" fmla="*/ 2173830 h 4095318"/>
                <a:gd name="connsiteX303" fmla="*/ 1483878 w 12191756"/>
                <a:gd name="connsiteY303" fmla="*/ 2107477 h 4095318"/>
                <a:gd name="connsiteX304" fmla="*/ 1479918 w 12191756"/>
                <a:gd name="connsiteY304" fmla="*/ 2102847 h 4095318"/>
                <a:gd name="connsiteX305" fmla="*/ 1536034 w 12191756"/>
                <a:gd name="connsiteY305" fmla="*/ 2055870 h 4095318"/>
                <a:gd name="connsiteX306" fmla="*/ 1539934 w 12191756"/>
                <a:gd name="connsiteY306" fmla="*/ 2060562 h 4095318"/>
                <a:gd name="connsiteX307" fmla="*/ 1483878 w 12191756"/>
                <a:gd name="connsiteY307" fmla="*/ 2107477 h 4095318"/>
                <a:gd name="connsiteX308" fmla="*/ 3359472 w 12191756"/>
                <a:gd name="connsiteY308" fmla="*/ 2100958 h 4095318"/>
                <a:gd name="connsiteX309" fmla="*/ 3298116 w 12191756"/>
                <a:gd name="connsiteY309" fmla="*/ 2061049 h 4095318"/>
                <a:gd name="connsiteX310" fmla="*/ 3301468 w 12191756"/>
                <a:gd name="connsiteY310" fmla="*/ 2055992 h 4095318"/>
                <a:gd name="connsiteX311" fmla="*/ 3362763 w 12191756"/>
                <a:gd name="connsiteY311" fmla="*/ 2095840 h 4095318"/>
                <a:gd name="connsiteX312" fmla="*/ 8183203 w 12191756"/>
                <a:gd name="connsiteY312" fmla="*/ 2073784 h 4095318"/>
                <a:gd name="connsiteX313" fmla="*/ 8178329 w 12191756"/>
                <a:gd name="connsiteY313" fmla="*/ 2070128 h 4095318"/>
                <a:gd name="connsiteX314" fmla="*/ 8222076 w 12191756"/>
                <a:gd name="connsiteY314" fmla="*/ 2011513 h 4095318"/>
                <a:gd name="connsiteX315" fmla="*/ 8226951 w 12191756"/>
                <a:gd name="connsiteY315" fmla="*/ 2015108 h 4095318"/>
                <a:gd name="connsiteX316" fmla="*/ 8183203 w 12191756"/>
                <a:gd name="connsiteY316" fmla="*/ 2073784 h 4095318"/>
                <a:gd name="connsiteX317" fmla="*/ 11697374 w 12191756"/>
                <a:gd name="connsiteY317" fmla="*/ 2060379 h 4095318"/>
                <a:gd name="connsiteX318" fmla="*/ 11673003 w 12191756"/>
                <a:gd name="connsiteY318" fmla="*/ 1991589 h 4095318"/>
                <a:gd name="connsiteX319" fmla="*/ 11678730 w 12191756"/>
                <a:gd name="connsiteY319" fmla="*/ 1989457 h 4095318"/>
                <a:gd name="connsiteX320" fmla="*/ 11703102 w 12191756"/>
                <a:gd name="connsiteY320" fmla="*/ 2058368 h 4095318"/>
                <a:gd name="connsiteX321" fmla="*/ 3237187 w 12191756"/>
                <a:gd name="connsiteY321" fmla="*/ 2020531 h 4095318"/>
                <a:gd name="connsiteX322" fmla="*/ 3176684 w 12191756"/>
                <a:gd name="connsiteY322" fmla="*/ 1979464 h 4095318"/>
                <a:gd name="connsiteX323" fmla="*/ 3180096 w 12191756"/>
                <a:gd name="connsiteY323" fmla="*/ 1974407 h 4095318"/>
                <a:gd name="connsiteX324" fmla="*/ 3240599 w 12191756"/>
                <a:gd name="connsiteY324" fmla="*/ 2015474 h 4095318"/>
                <a:gd name="connsiteX325" fmla="*/ 1597086 w 12191756"/>
                <a:gd name="connsiteY325" fmla="*/ 2014986 h 4095318"/>
                <a:gd name="connsiteX326" fmla="*/ 1593369 w 12191756"/>
                <a:gd name="connsiteY326" fmla="*/ 2010173 h 4095318"/>
                <a:gd name="connsiteX327" fmla="*/ 1651922 w 12191756"/>
                <a:gd name="connsiteY327" fmla="*/ 1966121 h 4095318"/>
                <a:gd name="connsiteX328" fmla="*/ 1655517 w 12191756"/>
                <a:gd name="connsiteY328" fmla="*/ 1971056 h 4095318"/>
                <a:gd name="connsiteX329" fmla="*/ 1597086 w 12191756"/>
                <a:gd name="connsiteY329" fmla="*/ 2014986 h 4095318"/>
                <a:gd name="connsiteX330" fmla="*/ 8270332 w 12191756"/>
                <a:gd name="connsiteY330" fmla="*/ 1956007 h 4095318"/>
                <a:gd name="connsiteX331" fmla="*/ 8265458 w 12191756"/>
                <a:gd name="connsiteY331" fmla="*/ 1952412 h 4095318"/>
                <a:gd name="connsiteX332" fmla="*/ 8308108 w 12191756"/>
                <a:gd name="connsiteY332" fmla="*/ 1893493 h 4095318"/>
                <a:gd name="connsiteX333" fmla="*/ 8313044 w 12191756"/>
                <a:gd name="connsiteY333" fmla="*/ 1897027 h 4095318"/>
                <a:gd name="connsiteX334" fmla="*/ 8270332 w 12191756"/>
                <a:gd name="connsiteY334" fmla="*/ 1956129 h 4095318"/>
                <a:gd name="connsiteX335" fmla="*/ 3116546 w 12191756"/>
                <a:gd name="connsiteY335" fmla="*/ 1937728 h 4095318"/>
                <a:gd name="connsiteX336" fmla="*/ 3056896 w 12191756"/>
                <a:gd name="connsiteY336" fmla="*/ 1895077 h 4095318"/>
                <a:gd name="connsiteX337" fmla="*/ 3060491 w 12191756"/>
                <a:gd name="connsiteY337" fmla="*/ 1890142 h 4095318"/>
                <a:gd name="connsiteX338" fmla="*/ 3120080 w 12191756"/>
                <a:gd name="connsiteY338" fmla="*/ 1932488 h 4095318"/>
                <a:gd name="connsiteX339" fmla="*/ 1715167 w 12191756"/>
                <a:gd name="connsiteY339" fmla="*/ 1928954 h 4095318"/>
                <a:gd name="connsiteX340" fmla="*/ 1711755 w 12191756"/>
                <a:gd name="connsiteY340" fmla="*/ 1923958 h 4095318"/>
                <a:gd name="connsiteX341" fmla="*/ 1772684 w 12191756"/>
                <a:gd name="connsiteY341" fmla="*/ 1883561 h 4095318"/>
                <a:gd name="connsiteX342" fmla="*/ 1775914 w 12191756"/>
                <a:gd name="connsiteY342" fmla="*/ 1888740 h 4095318"/>
                <a:gd name="connsiteX343" fmla="*/ 1714862 w 12191756"/>
                <a:gd name="connsiteY343" fmla="*/ 1928954 h 4095318"/>
                <a:gd name="connsiteX344" fmla="*/ 11647595 w 12191756"/>
                <a:gd name="connsiteY344" fmla="*/ 1922861 h 4095318"/>
                <a:gd name="connsiteX345" fmla="*/ 11621883 w 12191756"/>
                <a:gd name="connsiteY345" fmla="*/ 1854437 h 4095318"/>
                <a:gd name="connsiteX346" fmla="*/ 11627549 w 12191756"/>
                <a:gd name="connsiteY346" fmla="*/ 1852304 h 4095318"/>
                <a:gd name="connsiteX347" fmla="*/ 11653323 w 12191756"/>
                <a:gd name="connsiteY347" fmla="*/ 1920729 h 4095318"/>
                <a:gd name="connsiteX348" fmla="*/ 2997734 w 12191756"/>
                <a:gd name="connsiteY348" fmla="*/ 1852304 h 4095318"/>
                <a:gd name="connsiteX349" fmla="*/ 2990300 w 12191756"/>
                <a:gd name="connsiteY349" fmla="*/ 1846821 h 4095318"/>
                <a:gd name="connsiteX350" fmla="*/ 2937962 w 12191756"/>
                <a:gd name="connsiteY350" fmla="*/ 1810263 h 4095318"/>
                <a:gd name="connsiteX351" fmla="*/ 2941313 w 12191756"/>
                <a:gd name="connsiteY351" fmla="*/ 1805145 h 4095318"/>
                <a:gd name="connsiteX352" fmla="*/ 2993895 w 12191756"/>
                <a:gd name="connsiteY352" fmla="*/ 1841703 h 4095318"/>
                <a:gd name="connsiteX353" fmla="*/ 3001329 w 12191756"/>
                <a:gd name="connsiteY353" fmla="*/ 1847186 h 4095318"/>
                <a:gd name="connsiteX354" fmla="*/ 1838306 w 12191756"/>
                <a:gd name="connsiteY354" fmla="*/ 1850477 h 4095318"/>
                <a:gd name="connsiteX355" fmla="*/ 1835259 w 12191756"/>
                <a:gd name="connsiteY355" fmla="*/ 1845176 h 4095318"/>
                <a:gd name="connsiteX356" fmla="*/ 1899113 w 12191756"/>
                <a:gd name="connsiteY356" fmla="*/ 1809410 h 4095318"/>
                <a:gd name="connsiteX357" fmla="*/ 1901977 w 12191756"/>
                <a:gd name="connsiteY357" fmla="*/ 1814772 h 4095318"/>
                <a:gd name="connsiteX358" fmla="*/ 1838306 w 12191756"/>
                <a:gd name="connsiteY358" fmla="*/ 1850477 h 4095318"/>
                <a:gd name="connsiteX359" fmla="*/ 8356182 w 12191756"/>
                <a:gd name="connsiteY359" fmla="*/ 1837864 h 4095318"/>
                <a:gd name="connsiteX360" fmla="*/ 8351246 w 12191756"/>
                <a:gd name="connsiteY360" fmla="*/ 1834330 h 4095318"/>
                <a:gd name="connsiteX361" fmla="*/ 8393897 w 12191756"/>
                <a:gd name="connsiteY361" fmla="*/ 1774802 h 4095318"/>
                <a:gd name="connsiteX362" fmla="*/ 8398893 w 12191756"/>
                <a:gd name="connsiteY362" fmla="*/ 1778336 h 4095318"/>
                <a:gd name="connsiteX363" fmla="*/ 8356182 w 12191756"/>
                <a:gd name="connsiteY363" fmla="*/ 1837864 h 4095318"/>
                <a:gd name="connsiteX364" fmla="*/ 11595805 w 12191756"/>
                <a:gd name="connsiteY364" fmla="*/ 1786318 h 4095318"/>
                <a:gd name="connsiteX365" fmla="*/ 11568935 w 12191756"/>
                <a:gd name="connsiteY365" fmla="*/ 1718320 h 4095318"/>
                <a:gd name="connsiteX366" fmla="*/ 11574601 w 12191756"/>
                <a:gd name="connsiteY366" fmla="*/ 1716066 h 4095318"/>
                <a:gd name="connsiteX367" fmla="*/ 11601471 w 12191756"/>
                <a:gd name="connsiteY367" fmla="*/ 1784063 h 4095318"/>
                <a:gd name="connsiteX368" fmla="*/ 1967415 w 12191756"/>
                <a:gd name="connsiteY368" fmla="*/ 1782053 h 4095318"/>
                <a:gd name="connsiteX369" fmla="*/ 1964795 w 12191756"/>
                <a:gd name="connsiteY369" fmla="*/ 1776569 h 4095318"/>
                <a:gd name="connsiteX370" fmla="*/ 2031818 w 12191756"/>
                <a:gd name="connsiteY370" fmla="*/ 1746592 h 4095318"/>
                <a:gd name="connsiteX371" fmla="*/ 2034133 w 12191756"/>
                <a:gd name="connsiteY371" fmla="*/ 1752197 h 4095318"/>
                <a:gd name="connsiteX372" fmla="*/ 1967111 w 12191756"/>
                <a:gd name="connsiteY372" fmla="*/ 1782053 h 4095318"/>
                <a:gd name="connsiteX373" fmla="*/ 2875875 w 12191756"/>
                <a:gd name="connsiteY373" fmla="*/ 1772913 h 4095318"/>
                <a:gd name="connsiteX374" fmla="*/ 2810863 w 12191756"/>
                <a:gd name="connsiteY374" fmla="*/ 1740011 h 4095318"/>
                <a:gd name="connsiteX375" fmla="*/ 2813422 w 12191756"/>
                <a:gd name="connsiteY375" fmla="*/ 1734467 h 4095318"/>
                <a:gd name="connsiteX376" fmla="*/ 2878799 w 12191756"/>
                <a:gd name="connsiteY376" fmla="*/ 1767552 h 4095318"/>
                <a:gd name="connsiteX377" fmla="*/ 2102069 w 12191756"/>
                <a:gd name="connsiteY377" fmla="*/ 1725815 h 4095318"/>
                <a:gd name="connsiteX378" fmla="*/ 2100059 w 12191756"/>
                <a:gd name="connsiteY378" fmla="*/ 1720087 h 4095318"/>
                <a:gd name="connsiteX379" fmla="*/ 2169579 w 12191756"/>
                <a:gd name="connsiteY379" fmla="*/ 1697483 h 4095318"/>
                <a:gd name="connsiteX380" fmla="*/ 2171347 w 12191756"/>
                <a:gd name="connsiteY380" fmla="*/ 1703576 h 4095318"/>
                <a:gd name="connsiteX381" fmla="*/ 2101521 w 12191756"/>
                <a:gd name="connsiteY381" fmla="*/ 1725815 h 4095318"/>
                <a:gd name="connsiteX382" fmla="*/ 8441178 w 12191756"/>
                <a:gd name="connsiteY382" fmla="*/ 1718503 h 4095318"/>
                <a:gd name="connsiteX383" fmla="*/ 8436182 w 12191756"/>
                <a:gd name="connsiteY383" fmla="*/ 1715030 h 4095318"/>
                <a:gd name="connsiteX384" fmla="*/ 8478346 w 12191756"/>
                <a:gd name="connsiteY384" fmla="*/ 1655015 h 4095318"/>
                <a:gd name="connsiteX385" fmla="*/ 8483341 w 12191756"/>
                <a:gd name="connsiteY385" fmla="*/ 1658488 h 4095318"/>
                <a:gd name="connsiteX386" fmla="*/ 8440630 w 12191756"/>
                <a:gd name="connsiteY386" fmla="*/ 1718503 h 4095318"/>
                <a:gd name="connsiteX387" fmla="*/ 2743718 w 12191756"/>
                <a:gd name="connsiteY387" fmla="*/ 1712410 h 4095318"/>
                <a:gd name="connsiteX388" fmla="*/ 2674259 w 12191756"/>
                <a:gd name="connsiteY388" fmla="*/ 1690476 h 4095318"/>
                <a:gd name="connsiteX389" fmla="*/ 2675843 w 12191756"/>
                <a:gd name="connsiteY389" fmla="*/ 1684383 h 4095318"/>
                <a:gd name="connsiteX390" fmla="*/ 2745790 w 12191756"/>
                <a:gd name="connsiteY390" fmla="*/ 1706439 h 4095318"/>
                <a:gd name="connsiteX391" fmla="*/ 2241781 w 12191756"/>
                <a:gd name="connsiteY391" fmla="*/ 1685236 h 4095318"/>
                <a:gd name="connsiteX392" fmla="*/ 2240441 w 12191756"/>
                <a:gd name="connsiteY392" fmla="*/ 1679143 h 4095318"/>
                <a:gd name="connsiteX393" fmla="*/ 2312337 w 12191756"/>
                <a:gd name="connsiteY393" fmla="*/ 1665677 h 4095318"/>
                <a:gd name="connsiteX394" fmla="*/ 2313251 w 12191756"/>
                <a:gd name="connsiteY394" fmla="*/ 1671770 h 4095318"/>
                <a:gd name="connsiteX395" fmla="*/ 2241233 w 12191756"/>
                <a:gd name="connsiteY395" fmla="*/ 1685175 h 4095318"/>
                <a:gd name="connsiteX396" fmla="*/ 2603215 w 12191756"/>
                <a:gd name="connsiteY396" fmla="*/ 1674573 h 4095318"/>
                <a:gd name="connsiteX397" fmla="*/ 2531074 w 12191756"/>
                <a:gd name="connsiteY397" fmla="*/ 1664824 h 4095318"/>
                <a:gd name="connsiteX398" fmla="*/ 2531623 w 12191756"/>
                <a:gd name="connsiteY398" fmla="*/ 1658731 h 4095318"/>
                <a:gd name="connsiteX399" fmla="*/ 2604312 w 12191756"/>
                <a:gd name="connsiteY399" fmla="*/ 1668541 h 4095318"/>
                <a:gd name="connsiteX400" fmla="*/ 2385087 w 12191756"/>
                <a:gd name="connsiteY400" fmla="*/ 1663667 h 4095318"/>
                <a:gd name="connsiteX401" fmla="*/ 2384600 w 12191756"/>
                <a:gd name="connsiteY401" fmla="*/ 1657574 h 4095318"/>
                <a:gd name="connsiteX402" fmla="*/ 2451622 w 12191756"/>
                <a:gd name="connsiteY402" fmla="*/ 1655076 h 4095318"/>
                <a:gd name="connsiteX403" fmla="*/ 2457715 w 12191756"/>
                <a:gd name="connsiteY403" fmla="*/ 1655076 h 4095318"/>
                <a:gd name="connsiteX404" fmla="*/ 2457715 w 12191756"/>
                <a:gd name="connsiteY404" fmla="*/ 1661169 h 4095318"/>
                <a:gd name="connsiteX405" fmla="*/ 2451622 w 12191756"/>
                <a:gd name="connsiteY405" fmla="*/ 1661169 h 4095318"/>
                <a:gd name="connsiteX406" fmla="*/ 2385087 w 12191756"/>
                <a:gd name="connsiteY406" fmla="*/ 1663667 h 4095318"/>
                <a:gd name="connsiteX407" fmla="*/ 11541212 w 12191756"/>
                <a:gd name="connsiteY407" fmla="*/ 1650567 h 4095318"/>
                <a:gd name="connsiteX408" fmla="*/ 11513124 w 12191756"/>
                <a:gd name="connsiteY408" fmla="*/ 1583118 h 4095318"/>
                <a:gd name="connsiteX409" fmla="*/ 11518729 w 12191756"/>
                <a:gd name="connsiteY409" fmla="*/ 1580742 h 4095318"/>
                <a:gd name="connsiteX410" fmla="*/ 11546879 w 12191756"/>
                <a:gd name="connsiteY410" fmla="*/ 1648251 h 4095318"/>
                <a:gd name="connsiteX411" fmla="*/ 8525200 w 12191756"/>
                <a:gd name="connsiteY411" fmla="*/ 1598289 h 4095318"/>
                <a:gd name="connsiteX412" fmla="*/ 8520204 w 12191756"/>
                <a:gd name="connsiteY412" fmla="*/ 1594816 h 4095318"/>
                <a:gd name="connsiteX413" fmla="*/ 8562002 w 12191756"/>
                <a:gd name="connsiteY413" fmla="*/ 1534740 h 4095318"/>
                <a:gd name="connsiteX414" fmla="*/ 8566998 w 12191756"/>
                <a:gd name="connsiteY414" fmla="*/ 1538213 h 4095318"/>
                <a:gd name="connsiteX415" fmla="*/ 8524895 w 12191756"/>
                <a:gd name="connsiteY415" fmla="*/ 1598289 h 4095318"/>
                <a:gd name="connsiteX416" fmla="*/ 11484608 w 12191756"/>
                <a:gd name="connsiteY416" fmla="*/ 1515913 h 4095318"/>
                <a:gd name="connsiteX417" fmla="*/ 11455180 w 12191756"/>
                <a:gd name="connsiteY417" fmla="*/ 1448890 h 4095318"/>
                <a:gd name="connsiteX418" fmla="*/ 11460724 w 12191756"/>
                <a:gd name="connsiteY418" fmla="*/ 1446392 h 4095318"/>
                <a:gd name="connsiteX419" fmla="*/ 11490153 w 12191756"/>
                <a:gd name="connsiteY419" fmla="*/ 1513414 h 4095318"/>
                <a:gd name="connsiteX420" fmla="*/ 8608734 w 12191756"/>
                <a:gd name="connsiteY420" fmla="*/ 1478136 h 4095318"/>
                <a:gd name="connsiteX421" fmla="*/ 8603738 w 12191756"/>
                <a:gd name="connsiteY421" fmla="*/ 1474663 h 4095318"/>
                <a:gd name="connsiteX422" fmla="*/ 8645414 w 12191756"/>
                <a:gd name="connsiteY422" fmla="*/ 1414526 h 4095318"/>
                <a:gd name="connsiteX423" fmla="*/ 8650472 w 12191756"/>
                <a:gd name="connsiteY423" fmla="*/ 1417999 h 4095318"/>
                <a:gd name="connsiteX424" fmla="*/ 11425020 w 12191756"/>
                <a:gd name="connsiteY424" fmla="*/ 1382416 h 4095318"/>
                <a:gd name="connsiteX425" fmla="*/ 11394128 w 12191756"/>
                <a:gd name="connsiteY425" fmla="*/ 1316186 h 4095318"/>
                <a:gd name="connsiteX426" fmla="*/ 11399612 w 12191756"/>
                <a:gd name="connsiteY426" fmla="*/ 1313566 h 4095318"/>
                <a:gd name="connsiteX427" fmla="*/ 11430564 w 12191756"/>
                <a:gd name="connsiteY427" fmla="*/ 1379857 h 4095318"/>
                <a:gd name="connsiteX428" fmla="*/ 8692147 w 12191756"/>
                <a:gd name="connsiteY428" fmla="*/ 1358044 h 4095318"/>
                <a:gd name="connsiteX429" fmla="*/ 8687150 w 12191756"/>
                <a:gd name="connsiteY429" fmla="*/ 1354571 h 4095318"/>
                <a:gd name="connsiteX430" fmla="*/ 8728888 w 12191756"/>
                <a:gd name="connsiteY430" fmla="*/ 1294495 h 4095318"/>
                <a:gd name="connsiteX431" fmla="*/ 8733884 w 12191756"/>
                <a:gd name="connsiteY431" fmla="*/ 1297968 h 4095318"/>
                <a:gd name="connsiteX432" fmla="*/ 11362445 w 12191756"/>
                <a:gd name="connsiteY432" fmla="*/ 1250503 h 4095318"/>
                <a:gd name="connsiteX433" fmla="*/ 11329969 w 12191756"/>
                <a:gd name="connsiteY433" fmla="*/ 1185004 h 4095318"/>
                <a:gd name="connsiteX434" fmla="*/ 11335392 w 12191756"/>
                <a:gd name="connsiteY434" fmla="*/ 1182262 h 4095318"/>
                <a:gd name="connsiteX435" fmla="*/ 11367929 w 12191756"/>
                <a:gd name="connsiteY435" fmla="*/ 1247823 h 4095318"/>
                <a:gd name="connsiteX436" fmla="*/ 8775681 w 12191756"/>
                <a:gd name="connsiteY436" fmla="*/ 1237891 h 4095318"/>
                <a:gd name="connsiteX437" fmla="*/ 8770685 w 12191756"/>
                <a:gd name="connsiteY437" fmla="*/ 1234418 h 4095318"/>
                <a:gd name="connsiteX438" fmla="*/ 8812666 w 12191756"/>
                <a:gd name="connsiteY438" fmla="*/ 1174463 h 4095318"/>
                <a:gd name="connsiteX439" fmla="*/ 8817601 w 12191756"/>
                <a:gd name="connsiteY439" fmla="*/ 1177936 h 4095318"/>
                <a:gd name="connsiteX440" fmla="*/ 11296641 w 12191756"/>
                <a:gd name="connsiteY440" fmla="*/ 1119932 h 4095318"/>
                <a:gd name="connsiteX441" fmla="*/ 11262398 w 12191756"/>
                <a:gd name="connsiteY441" fmla="*/ 1055407 h 4095318"/>
                <a:gd name="connsiteX442" fmla="*/ 11267760 w 12191756"/>
                <a:gd name="connsiteY442" fmla="*/ 1052482 h 4095318"/>
                <a:gd name="connsiteX443" fmla="*/ 11302003 w 12191756"/>
                <a:gd name="connsiteY443" fmla="*/ 1117129 h 4095318"/>
                <a:gd name="connsiteX444" fmla="*/ 8859459 w 12191756"/>
                <a:gd name="connsiteY444" fmla="*/ 1118104 h 4095318"/>
                <a:gd name="connsiteX445" fmla="*/ 8854524 w 12191756"/>
                <a:gd name="connsiteY445" fmla="*/ 1114570 h 4095318"/>
                <a:gd name="connsiteX446" fmla="*/ 8896809 w 12191756"/>
                <a:gd name="connsiteY446" fmla="*/ 1054859 h 4095318"/>
                <a:gd name="connsiteX447" fmla="*/ 8901806 w 12191756"/>
                <a:gd name="connsiteY447" fmla="*/ 1058393 h 4095318"/>
                <a:gd name="connsiteX448" fmla="*/ 8859398 w 12191756"/>
                <a:gd name="connsiteY448" fmla="*/ 1117921 h 4095318"/>
                <a:gd name="connsiteX449" fmla="*/ 8944335 w 12191756"/>
                <a:gd name="connsiteY449" fmla="*/ 998865 h 4095318"/>
                <a:gd name="connsiteX450" fmla="*/ 8939399 w 12191756"/>
                <a:gd name="connsiteY450" fmla="*/ 995331 h 4095318"/>
                <a:gd name="connsiteX451" fmla="*/ 8982050 w 12191756"/>
                <a:gd name="connsiteY451" fmla="*/ 935985 h 4095318"/>
                <a:gd name="connsiteX452" fmla="*/ 8986985 w 12191756"/>
                <a:gd name="connsiteY452" fmla="*/ 939580 h 4095318"/>
                <a:gd name="connsiteX453" fmla="*/ 8944274 w 12191756"/>
                <a:gd name="connsiteY453" fmla="*/ 998682 h 4095318"/>
                <a:gd name="connsiteX454" fmla="*/ 11226938 w 12191756"/>
                <a:gd name="connsiteY454" fmla="*/ 991370 h 4095318"/>
                <a:gd name="connsiteX455" fmla="*/ 11190745 w 12191756"/>
                <a:gd name="connsiteY455" fmla="*/ 927881 h 4095318"/>
                <a:gd name="connsiteX456" fmla="*/ 11196046 w 12191756"/>
                <a:gd name="connsiteY456" fmla="*/ 924835 h 4095318"/>
                <a:gd name="connsiteX457" fmla="*/ 11232239 w 12191756"/>
                <a:gd name="connsiteY457" fmla="*/ 988385 h 4095318"/>
                <a:gd name="connsiteX458" fmla="*/ 9030306 w 12191756"/>
                <a:gd name="connsiteY458" fmla="*/ 880600 h 4095318"/>
                <a:gd name="connsiteX459" fmla="*/ 9025431 w 12191756"/>
                <a:gd name="connsiteY459" fmla="*/ 877005 h 4095318"/>
                <a:gd name="connsiteX460" fmla="*/ 9069057 w 12191756"/>
                <a:gd name="connsiteY460" fmla="*/ 818208 h 4095318"/>
                <a:gd name="connsiteX461" fmla="*/ 9073932 w 12191756"/>
                <a:gd name="connsiteY461" fmla="*/ 821864 h 4095318"/>
                <a:gd name="connsiteX462" fmla="*/ 9030306 w 12191756"/>
                <a:gd name="connsiteY462" fmla="*/ 880356 h 4095318"/>
                <a:gd name="connsiteX463" fmla="*/ 11153517 w 12191756"/>
                <a:gd name="connsiteY463" fmla="*/ 865002 h 4095318"/>
                <a:gd name="connsiteX464" fmla="*/ 11115192 w 12191756"/>
                <a:gd name="connsiteY464" fmla="*/ 802854 h 4095318"/>
                <a:gd name="connsiteX465" fmla="*/ 11120311 w 12191756"/>
                <a:gd name="connsiteY465" fmla="*/ 799564 h 4095318"/>
                <a:gd name="connsiteX466" fmla="*/ 11158757 w 12191756"/>
                <a:gd name="connsiteY466" fmla="*/ 861895 h 4095318"/>
                <a:gd name="connsiteX467" fmla="*/ 9117801 w 12191756"/>
                <a:gd name="connsiteY467" fmla="*/ 763250 h 4095318"/>
                <a:gd name="connsiteX468" fmla="*/ 9112926 w 12191756"/>
                <a:gd name="connsiteY468" fmla="*/ 759594 h 4095318"/>
                <a:gd name="connsiteX469" fmla="*/ 9157649 w 12191756"/>
                <a:gd name="connsiteY469" fmla="*/ 701589 h 4095318"/>
                <a:gd name="connsiteX470" fmla="*/ 9162462 w 12191756"/>
                <a:gd name="connsiteY470" fmla="*/ 705306 h 4095318"/>
                <a:gd name="connsiteX471" fmla="*/ 9117801 w 12191756"/>
                <a:gd name="connsiteY471" fmla="*/ 763250 h 4095318"/>
                <a:gd name="connsiteX472" fmla="*/ 11075406 w 12191756"/>
                <a:gd name="connsiteY472" fmla="*/ 741132 h 4095318"/>
                <a:gd name="connsiteX473" fmla="*/ 11034583 w 12191756"/>
                <a:gd name="connsiteY473" fmla="*/ 680568 h 4095318"/>
                <a:gd name="connsiteX474" fmla="*/ 11039579 w 12191756"/>
                <a:gd name="connsiteY474" fmla="*/ 677096 h 4095318"/>
                <a:gd name="connsiteX475" fmla="*/ 11080463 w 12191756"/>
                <a:gd name="connsiteY475" fmla="*/ 738025 h 4095318"/>
                <a:gd name="connsiteX476" fmla="*/ 9207733 w 12191756"/>
                <a:gd name="connsiteY476" fmla="*/ 647910 h 4095318"/>
                <a:gd name="connsiteX477" fmla="*/ 9203102 w 12191756"/>
                <a:gd name="connsiteY477" fmla="*/ 644072 h 4095318"/>
                <a:gd name="connsiteX478" fmla="*/ 9249165 w 12191756"/>
                <a:gd name="connsiteY478" fmla="*/ 587164 h 4095318"/>
                <a:gd name="connsiteX479" fmla="*/ 9253856 w 12191756"/>
                <a:gd name="connsiteY479" fmla="*/ 591063 h 4095318"/>
                <a:gd name="connsiteX480" fmla="*/ 9207977 w 12191756"/>
                <a:gd name="connsiteY480" fmla="*/ 647910 h 4095318"/>
                <a:gd name="connsiteX481" fmla="*/ 10992420 w 12191756"/>
                <a:gd name="connsiteY481" fmla="*/ 620919 h 4095318"/>
                <a:gd name="connsiteX482" fmla="*/ 10948794 w 12191756"/>
                <a:gd name="connsiteY482" fmla="*/ 562304 h 4095318"/>
                <a:gd name="connsiteX483" fmla="*/ 10953608 w 12191756"/>
                <a:gd name="connsiteY483" fmla="*/ 558649 h 4095318"/>
                <a:gd name="connsiteX484" fmla="*/ 10997355 w 12191756"/>
                <a:gd name="connsiteY484" fmla="*/ 617324 h 4095318"/>
                <a:gd name="connsiteX485" fmla="*/ 9300589 w 12191756"/>
                <a:gd name="connsiteY485" fmla="*/ 534886 h 4095318"/>
                <a:gd name="connsiteX486" fmla="*/ 9295959 w 12191756"/>
                <a:gd name="connsiteY486" fmla="*/ 530926 h 4095318"/>
                <a:gd name="connsiteX487" fmla="*/ 9343788 w 12191756"/>
                <a:gd name="connsiteY487" fmla="*/ 475480 h 4095318"/>
                <a:gd name="connsiteX488" fmla="*/ 9348358 w 12191756"/>
                <a:gd name="connsiteY488" fmla="*/ 479501 h 4095318"/>
                <a:gd name="connsiteX489" fmla="*/ 9300589 w 12191756"/>
                <a:gd name="connsiteY489" fmla="*/ 534886 h 4095318"/>
                <a:gd name="connsiteX490" fmla="*/ 10903706 w 12191756"/>
                <a:gd name="connsiteY490" fmla="*/ 504909 h 4095318"/>
                <a:gd name="connsiteX491" fmla="*/ 10856913 w 12191756"/>
                <a:gd name="connsiteY491" fmla="*/ 448914 h 4095318"/>
                <a:gd name="connsiteX492" fmla="*/ 10861483 w 12191756"/>
                <a:gd name="connsiteY492" fmla="*/ 444954 h 4095318"/>
                <a:gd name="connsiteX493" fmla="*/ 10908459 w 12191756"/>
                <a:gd name="connsiteY493" fmla="*/ 501070 h 4095318"/>
                <a:gd name="connsiteX494" fmla="*/ 9397163 w 12191756"/>
                <a:gd name="connsiteY494" fmla="*/ 425091 h 4095318"/>
                <a:gd name="connsiteX495" fmla="*/ 9392715 w 12191756"/>
                <a:gd name="connsiteY495" fmla="*/ 421009 h 4095318"/>
                <a:gd name="connsiteX496" fmla="*/ 9442860 w 12191756"/>
                <a:gd name="connsiteY496" fmla="*/ 367573 h 4095318"/>
                <a:gd name="connsiteX497" fmla="*/ 9447246 w 12191756"/>
                <a:gd name="connsiteY497" fmla="*/ 371839 h 4095318"/>
                <a:gd name="connsiteX498" fmla="*/ 9397345 w 12191756"/>
                <a:gd name="connsiteY498" fmla="*/ 425091 h 4095318"/>
                <a:gd name="connsiteX499" fmla="*/ 10808290 w 12191756"/>
                <a:gd name="connsiteY499" fmla="*/ 394626 h 4095318"/>
                <a:gd name="connsiteX500" fmla="*/ 10757780 w 12191756"/>
                <a:gd name="connsiteY500" fmla="*/ 341922 h 4095318"/>
                <a:gd name="connsiteX501" fmla="*/ 10762106 w 12191756"/>
                <a:gd name="connsiteY501" fmla="*/ 337657 h 4095318"/>
                <a:gd name="connsiteX502" fmla="*/ 10812739 w 12191756"/>
                <a:gd name="connsiteY502" fmla="*/ 390483 h 4095318"/>
                <a:gd name="connsiteX503" fmla="*/ 9498305 w 12191756"/>
                <a:gd name="connsiteY503" fmla="*/ 320109 h 4095318"/>
                <a:gd name="connsiteX504" fmla="*/ 9494041 w 12191756"/>
                <a:gd name="connsiteY504" fmla="*/ 315722 h 4095318"/>
                <a:gd name="connsiteX505" fmla="*/ 9547171 w 12191756"/>
                <a:gd name="connsiteY505" fmla="*/ 265334 h 4095318"/>
                <a:gd name="connsiteX506" fmla="*/ 9551315 w 12191756"/>
                <a:gd name="connsiteY506" fmla="*/ 269782 h 4095318"/>
                <a:gd name="connsiteX507" fmla="*/ 9498793 w 12191756"/>
                <a:gd name="connsiteY507" fmla="*/ 319927 h 4095318"/>
                <a:gd name="connsiteX508" fmla="*/ 10704710 w 12191756"/>
                <a:gd name="connsiteY508" fmla="*/ 291351 h 4095318"/>
                <a:gd name="connsiteX509" fmla="*/ 10649874 w 12191756"/>
                <a:gd name="connsiteY509" fmla="*/ 243155 h 4095318"/>
                <a:gd name="connsiteX510" fmla="*/ 10653773 w 12191756"/>
                <a:gd name="connsiteY510" fmla="*/ 238464 h 4095318"/>
                <a:gd name="connsiteX511" fmla="*/ 10708610 w 12191756"/>
                <a:gd name="connsiteY511" fmla="*/ 286842 h 4095318"/>
                <a:gd name="connsiteX512" fmla="*/ 9605785 w 12191756"/>
                <a:gd name="connsiteY512" fmla="*/ 221525 h 4095318"/>
                <a:gd name="connsiteX513" fmla="*/ 9601886 w 12191756"/>
                <a:gd name="connsiteY513" fmla="*/ 216895 h 4095318"/>
                <a:gd name="connsiteX514" fmla="*/ 9658855 w 12191756"/>
                <a:gd name="connsiteY514" fmla="*/ 170954 h 4095318"/>
                <a:gd name="connsiteX515" fmla="*/ 9662572 w 12191756"/>
                <a:gd name="connsiteY515" fmla="*/ 175767 h 4095318"/>
                <a:gd name="connsiteX516" fmla="*/ 9606516 w 12191756"/>
                <a:gd name="connsiteY516" fmla="*/ 221343 h 4095318"/>
                <a:gd name="connsiteX517" fmla="*/ 10592844 w 12191756"/>
                <a:gd name="connsiteY517" fmla="*/ 197702 h 4095318"/>
                <a:gd name="connsiteX518" fmla="*/ 10533437 w 12191756"/>
                <a:gd name="connsiteY518" fmla="*/ 155600 h 4095318"/>
                <a:gd name="connsiteX519" fmla="*/ 10536789 w 12191756"/>
                <a:gd name="connsiteY519" fmla="*/ 150542 h 4095318"/>
                <a:gd name="connsiteX520" fmla="*/ 10596499 w 12191756"/>
                <a:gd name="connsiteY520" fmla="*/ 192828 h 4095318"/>
                <a:gd name="connsiteX521" fmla="*/ 9721551 w 12191756"/>
                <a:gd name="connsiteY521" fmla="*/ 133178 h 4095318"/>
                <a:gd name="connsiteX522" fmla="*/ 9718140 w 12191756"/>
                <a:gd name="connsiteY522" fmla="*/ 128120 h 4095318"/>
                <a:gd name="connsiteX523" fmla="*/ 9780165 w 12191756"/>
                <a:gd name="connsiteY523" fmla="*/ 89247 h 4095318"/>
                <a:gd name="connsiteX524" fmla="*/ 9783212 w 12191756"/>
                <a:gd name="connsiteY524" fmla="*/ 94487 h 4095318"/>
                <a:gd name="connsiteX525" fmla="*/ 9722343 w 12191756"/>
                <a:gd name="connsiteY525" fmla="*/ 132995 h 4095318"/>
                <a:gd name="connsiteX526" fmla="*/ 10471594 w 12191756"/>
                <a:gd name="connsiteY526" fmla="*/ 117336 h 4095318"/>
                <a:gd name="connsiteX527" fmla="*/ 10407192 w 12191756"/>
                <a:gd name="connsiteY527" fmla="*/ 83520 h 4095318"/>
                <a:gd name="connsiteX528" fmla="*/ 10409812 w 12191756"/>
                <a:gd name="connsiteY528" fmla="*/ 77975 h 4095318"/>
                <a:gd name="connsiteX529" fmla="*/ 10474580 w 12191756"/>
                <a:gd name="connsiteY529" fmla="*/ 112035 h 4095318"/>
                <a:gd name="connsiteX530" fmla="*/ 9847554 w 12191756"/>
                <a:gd name="connsiteY530" fmla="*/ 60915 h 4095318"/>
                <a:gd name="connsiteX531" fmla="*/ 9844995 w 12191756"/>
                <a:gd name="connsiteY531" fmla="*/ 55431 h 4095318"/>
                <a:gd name="connsiteX532" fmla="*/ 9912687 w 12191756"/>
                <a:gd name="connsiteY532" fmla="*/ 28074 h 4095318"/>
                <a:gd name="connsiteX533" fmla="*/ 9914637 w 12191756"/>
                <a:gd name="connsiteY533" fmla="*/ 33862 h 4095318"/>
                <a:gd name="connsiteX534" fmla="*/ 9848346 w 12191756"/>
                <a:gd name="connsiteY534" fmla="*/ 60732 h 4095318"/>
                <a:gd name="connsiteX535" fmla="*/ 10340352 w 12191756"/>
                <a:gd name="connsiteY535" fmla="*/ 54822 h 4095318"/>
                <a:gd name="connsiteX536" fmla="*/ 10271379 w 12191756"/>
                <a:gd name="connsiteY536" fmla="*/ 32156 h 4095318"/>
                <a:gd name="connsiteX537" fmla="*/ 10273025 w 12191756"/>
                <a:gd name="connsiteY537" fmla="*/ 26063 h 4095318"/>
                <a:gd name="connsiteX538" fmla="*/ 10342545 w 12191756"/>
                <a:gd name="connsiteY538" fmla="*/ 48912 h 4095318"/>
                <a:gd name="connsiteX539" fmla="*/ 10200640 w 12191756"/>
                <a:gd name="connsiteY539" fmla="*/ 16071 h 4095318"/>
                <a:gd name="connsiteX540" fmla="*/ 10128683 w 12191756"/>
                <a:gd name="connsiteY540" fmla="*/ 7236 h 4095318"/>
                <a:gd name="connsiteX541" fmla="*/ 10129109 w 12191756"/>
                <a:gd name="connsiteY541" fmla="*/ 1143 h 4095318"/>
                <a:gd name="connsiteX542" fmla="*/ 10201676 w 12191756"/>
                <a:gd name="connsiteY542" fmla="*/ 10039 h 4095318"/>
                <a:gd name="connsiteX543" fmla="*/ 9984340 w 12191756"/>
                <a:gd name="connsiteY543" fmla="*/ 14913 h 4095318"/>
                <a:gd name="connsiteX544" fmla="*/ 9983122 w 12191756"/>
                <a:gd name="connsiteY544" fmla="*/ 8820 h 4095318"/>
                <a:gd name="connsiteX545" fmla="*/ 10055872 w 12191756"/>
                <a:gd name="connsiteY545" fmla="*/ -197 h 4095318"/>
                <a:gd name="connsiteX546" fmla="*/ 10055872 w 12191756"/>
                <a:gd name="connsiteY546" fmla="*/ 5896 h 4095318"/>
                <a:gd name="connsiteX547" fmla="*/ 9985133 w 12191756"/>
                <a:gd name="connsiteY547" fmla="*/ 14791 h 409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Lst>
              <a:rect l="l" t="t" r="r" b="b"/>
              <a:pathLst>
                <a:path w="12191756" h="4095318">
                  <a:moveTo>
                    <a:pt x="5484" y="4095121"/>
                  </a:moveTo>
                  <a:lnTo>
                    <a:pt x="0" y="4092379"/>
                  </a:lnTo>
                  <a:cubicBezTo>
                    <a:pt x="0" y="4092379"/>
                    <a:pt x="12186" y="4068495"/>
                    <a:pt x="34730" y="4026819"/>
                  </a:cubicBezTo>
                  <a:lnTo>
                    <a:pt x="40092" y="4029743"/>
                  </a:lnTo>
                  <a:cubicBezTo>
                    <a:pt x="17670" y="4071358"/>
                    <a:pt x="5545" y="4094877"/>
                    <a:pt x="5484" y="4095121"/>
                  </a:cubicBezTo>
                  <a:close/>
                  <a:moveTo>
                    <a:pt x="75309" y="3965158"/>
                  </a:moveTo>
                  <a:lnTo>
                    <a:pt x="70008" y="3962234"/>
                  </a:lnTo>
                  <a:cubicBezTo>
                    <a:pt x="80732" y="3942736"/>
                    <a:pt x="92735" y="3921289"/>
                    <a:pt x="105774" y="3898075"/>
                  </a:cubicBezTo>
                  <a:lnTo>
                    <a:pt x="111075" y="3901060"/>
                  </a:lnTo>
                  <a:cubicBezTo>
                    <a:pt x="98036" y="3924274"/>
                    <a:pt x="86094" y="3945722"/>
                    <a:pt x="75309" y="3965158"/>
                  </a:cubicBezTo>
                  <a:close/>
                  <a:moveTo>
                    <a:pt x="12185664" y="3865538"/>
                  </a:moveTo>
                  <a:lnTo>
                    <a:pt x="12176890" y="3822583"/>
                  </a:lnTo>
                  <a:lnTo>
                    <a:pt x="12182983" y="3821364"/>
                  </a:lnTo>
                  <a:cubicBezTo>
                    <a:pt x="12185908" y="3835622"/>
                    <a:pt x="12189076" y="3850001"/>
                    <a:pt x="12191757" y="3864015"/>
                  </a:cubicBezTo>
                  <a:close/>
                  <a:moveTo>
                    <a:pt x="147389" y="3837328"/>
                  </a:moveTo>
                  <a:lnTo>
                    <a:pt x="142088" y="3834282"/>
                  </a:lnTo>
                  <a:cubicBezTo>
                    <a:pt x="153726" y="3814114"/>
                    <a:pt x="165973" y="3792910"/>
                    <a:pt x="178646" y="3770854"/>
                  </a:cubicBezTo>
                  <a:lnTo>
                    <a:pt x="183947" y="3773900"/>
                  </a:lnTo>
                  <a:cubicBezTo>
                    <a:pt x="171273" y="3795957"/>
                    <a:pt x="159027" y="3817161"/>
                    <a:pt x="147389" y="3837328"/>
                  </a:cubicBezTo>
                  <a:close/>
                  <a:moveTo>
                    <a:pt x="12161962" y="3751113"/>
                  </a:moveTo>
                  <a:cubicBezTo>
                    <a:pt x="12156966" y="3727228"/>
                    <a:pt x="12151909" y="3703387"/>
                    <a:pt x="12146730" y="3679582"/>
                  </a:cubicBezTo>
                  <a:lnTo>
                    <a:pt x="12152823" y="3678302"/>
                  </a:lnTo>
                  <a:cubicBezTo>
                    <a:pt x="12157941" y="3702065"/>
                    <a:pt x="12162998" y="3725906"/>
                    <a:pt x="12168055" y="3749833"/>
                  </a:cubicBezTo>
                  <a:close/>
                  <a:moveTo>
                    <a:pt x="221418" y="3710838"/>
                  </a:moveTo>
                  <a:lnTo>
                    <a:pt x="216178" y="3707670"/>
                  </a:lnTo>
                  <a:cubicBezTo>
                    <a:pt x="228364" y="3687362"/>
                    <a:pt x="240936" y="3666421"/>
                    <a:pt x="253894" y="3644852"/>
                  </a:cubicBezTo>
                  <a:lnTo>
                    <a:pt x="259073" y="3648020"/>
                  </a:lnTo>
                  <a:cubicBezTo>
                    <a:pt x="246115" y="3669467"/>
                    <a:pt x="233563" y="3690409"/>
                    <a:pt x="221418" y="3710838"/>
                  </a:cubicBezTo>
                  <a:close/>
                  <a:moveTo>
                    <a:pt x="12131192" y="3608172"/>
                  </a:moveTo>
                  <a:cubicBezTo>
                    <a:pt x="12125953" y="3584288"/>
                    <a:pt x="12120652" y="3560483"/>
                    <a:pt x="12115351" y="3536763"/>
                  </a:cubicBezTo>
                  <a:lnTo>
                    <a:pt x="12121444" y="3535422"/>
                  </a:lnTo>
                  <a:cubicBezTo>
                    <a:pt x="12126745" y="3559185"/>
                    <a:pt x="12131985" y="3582990"/>
                    <a:pt x="12137285" y="3606832"/>
                  </a:cubicBezTo>
                  <a:close/>
                  <a:moveTo>
                    <a:pt x="297276" y="3585445"/>
                  </a:moveTo>
                  <a:lnTo>
                    <a:pt x="292036" y="3582277"/>
                  </a:lnTo>
                  <a:cubicBezTo>
                    <a:pt x="304587" y="3561969"/>
                    <a:pt x="317463" y="3541210"/>
                    <a:pt x="330665" y="3520007"/>
                  </a:cubicBezTo>
                  <a:lnTo>
                    <a:pt x="335844" y="3523236"/>
                  </a:lnTo>
                  <a:cubicBezTo>
                    <a:pt x="322642" y="3544318"/>
                    <a:pt x="309786" y="3565052"/>
                    <a:pt x="297276" y="3585445"/>
                  </a:cubicBezTo>
                  <a:close/>
                  <a:moveTo>
                    <a:pt x="12099326" y="3465475"/>
                  </a:moveTo>
                  <a:cubicBezTo>
                    <a:pt x="12093904" y="3441633"/>
                    <a:pt x="12088421" y="3417889"/>
                    <a:pt x="12082815" y="3394248"/>
                  </a:cubicBezTo>
                  <a:lnTo>
                    <a:pt x="12088908" y="3392847"/>
                  </a:lnTo>
                  <a:cubicBezTo>
                    <a:pt x="12094453" y="3416530"/>
                    <a:pt x="12099997" y="3440293"/>
                    <a:pt x="12105419" y="3464135"/>
                  </a:cubicBezTo>
                  <a:close/>
                  <a:moveTo>
                    <a:pt x="374900" y="3461271"/>
                  </a:moveTo>
                  <a:lnTo>
                    <a:pt x="369782" y="3458042"/>
                  </a:lnTo>
                  <a:cubicBezTo>
                    <a:pt x="382699" y="3437734"/>
                    <a:pt x="395880" y="3417158"/>
                    <a:pt x="409325" y="3396320"/>
                  </a:cubicBezTo>
                  <a:lnTo>
                    <a:pt x="414443" y="3399671"/>
                  </a:lnTo>
                  <a:cubicBezTo>
                    <a:pt x="400978" y="3420448"/>
                    <a:pt x="387817" y="3441042"/>
                    <a:pt x="374900" y="3461271"/>
                  </a:cubicBezTo>
                  <a:close/>
                  <a:moveTo>
                    <a:pt x="454108" y="3338376"/>
                  </a:moveTo>
                  <a:lnTo>
                    <a:pt x="449051" y="3335025"/>
                  </a:lnTo>
                  <a:cubicBezTo>
                    <a:pt x="462293" y="3314717"/>
                    <a:pt x="475779" y="3294403"/>
                    <a:pt x="489508" y="3274096"/>
                  </a:cubicBezTo>
                  <a:lnTo>
                    <a:pt x="494566" y="3277447"/>
                  </a:lnTo>
                  <a:cubicBezTo>
                    <a:pt x="481080" y="3297876"/>
                    <a:pt x="467696" y="3318190"/>
                    <a:pt x="454413" y="3338376"/>
                  </a:cubicBezTo>
                  <a:close/>
                  <a:moveTo>
                    <a:pt x="12065511" y="3323144"/>
                  </a:moveTo>
                  <a:cubicBezTo>
                    <a:pt x="12059783" y="3299381"/>
                    <a:pt x="12054056" y="3275679"/>
                    <a:pt x="12048267" y="3252039"/>
                  </a:cubicBezTo>
                  <a:lnTo>
                    <a:pt x="12054360" y="3250576"/>
                  </a:lnTo>
                  <a:cubicBezTo>
                    <a:pt x="12060088" y="3274217"/>
                    <a:pt x="12065876" y="3297919"/>
                    <a:pt x="12071543" y="3321681"/>
                  </a:cubicBezTo>
                  <a:close/>
                  <a:moveTo>
                    <a:pt x="535815" y="3216700"/>
                  </a:moveTo>
                  <a:lnTo>
                    <a:pt x="530819" y="3213227"/>
                  </a:lnTo>
                  <a:cubicBezTo>
                    <a:pt x="544426" y="3193242"/>
                    <a:pt x="558237" y="3173117"/>
                    <a:pt x="572251" y="3152846"/>
                  </a:cubicBezTo>
                  <a:lnTo>
                    <a:pt x="577247" y="3156380"/>
                  </a:lnTo>
                  <a:cubicBezTo>
                    <a:pt x="563294" y="3176547"/>
                    <a:pt x="549463" y="3197020"/>
                    <a:pt x="535815" y="3216700"/>
                  </a:cubicBezTo>
                  <a:close/>
                  <a:moveTo>
                    <a:pt x="6457313" y="3209510"/>
                  </a:moveTo>
                  <a:cubicBezTo>
                    <a:pt x="6445554" y="3209510"/>
                    <a:pt x="6433733" y="3209510"/>
                    <a:pt x="6421852" y="3209510"/>
                  </a:cubicBezTo>
                  <a:lnTo>
                    <a:pt x="6421852" y="3203417"/>
                  </a:lnTo>
                  <a:cubicBezTo>
                    <a:pt x="6446467" y="3203783"/>
                    <a:pt x="6470839" y="3203783"/>
                    <a:pt x="6494967" y="3203417"/>
                  </a:cubicBezTo>
                  <a:lnTo>
                    <a:pt x="6494967" y="3209510"/>
                  </a:lnTo>
                  <a:cubicBezTo>
                    <a:pt x="6482538" y="3209309"/>
                    <a:pt x="6469987" y="3209309"/>
                    <a:pt x="6457313" y="3209510"/>
                  </a:cubicBezTo>
                  <a:close/>
                  <a:moveTo>
                    <a:pt x="6348676" y="3207195"/>
                  </a:moveTo>
                  <a:cubicBezTo>
                    <a:pt x="6324304" y="3206220"/>
                    <a:pt x="6299932" y="3204879"/>
                    <a:pt x="6275560" y="3203234"/>
                  </a:cubicBezTo>
                  <a:lnTo>
                    <a:pt x="6275925" y="3197141"/>
                  </a:lnTo>
                  <a:cubicBezTo>
                    <a:pt x="6300297" y="3198786"/>
                    <a:pt x="6324669" y="3200127"/>
                    <a:pt x="6349041" y="3201102"/>
                  </a:cubicBezTo>
                  <a:close/>
                  <a:moveTo>
                    <a:pt x="6568022" y="3207195"/>
                  </a:moveTo>
                  <a:lnTo>
                    <a:pt x="6568022" y="3201102"/>
                  </a:lnTo>
                  <a:cubicBezTo>
                    <a:pt x="6592394" y="3199944"/>
                    <a:pt x="6616766" y="3198360"/>
                    <a:pt x="6641137" y="3196349"/>
                  </a:cubicBezTo>
                  <a:lnTo>
                    <a:pt x="6641625" y="3202442"/>
                  </a:lnTo>
                  <a:cubicBezTo>
                    <a:pt x="6617375" y="3204148"/>
                    <a:pt x="6592759" y="3205732"/>
                    <a:pt x="6568205" y="3206890"/>
                  </a:cubicBezTo>
                  <a:close/>
                  <a:moveTo>
                    <a:pt x="6202445" y="3197751"/>
                  </a:moveTo>
                  <a:cubicBezTo>
                    <a:pt x="6178499" y="3195618"/>
                    <a:pt x="6154006" y="3193120"/>
                    <a:pt x="6129634" y="3190378"/>
                  </a:cubicBezTo>
                  <a:lnTo>
                    <a:pt x="6130304" y="3184285"/>
                  </a:lnTo>
                  <a:cubicBezTo>
                    <a:pt x="6154676" y="3187088"/>
                    <a:pt x="6179048" y="3189525"/>
                    <a:pt x="6202993" y="3191719"/>
                  </a:cubicBezTo>
                  <a:close/>
                  <a:moveTo>
                    <a:pt x="6714253" y="3195009"/>
                  </a:moveTo>
                  <a:lnTo>
                    <a:pt x="6713522" y="3188916"/>
                  </a:lnTo>
                  <a:cubicBezTo>
                    <a:pt x="6737894" y="3185930"/>
                    <a:pt x="6762265" y="3182457"/>
                    <a:pt x="6785784" y="3178558"/>
                  </a:cubicBezTo>
                  <a:lnTo>
                    <a:pt x="6786759" y="3184651"/>
                  </a:lnTo>
                  <a:cubicBezTo>
                    <a:pt x="6762996" y="3188246"/>
                    <a:pt x="6738625" y="3191719"/>
                    <a:pt x="6714131" y="3194704"/>
                  </a:cubicBezTo>
                  <a:close/>
                  <a:moveTo>
                    <a:pt x="6057311" y="3181422"/>
                  </a:moveTo>
                  <a:cubicBezTo>
                    <a:pt x="6033548" y="3178253"/>
                    <a:pt x="6009176" y="3174780"/>
                    <a:pt x="5984865" y="3171002"/>
                  </a:cubicBezTo>
                  <a:lnTo>
                    <a:pt x="5985779" y="3164910"/>
                  </a:lnTo>
                  <a:cubicBezTo>
                    <a:pt x="6010151" y="3168627"/>
                    <a:pt x="6034523" y="3172099"/>
                    <a:pt x="6058103" y="3175268"/>
                  </a:cubicBezTo>
                  <a:close/>
                  <a:moveTo>
                    <a:pt x="12031147" y="3181422"/>
                  </a:moveTo>
                  <a:cubicBezTo>
                    <a:pt x="12025054" y="3157659"/>
                    <a:pt x="12018961" y="3134079"/>
                    <a:pt x="12013294" y="3110499"/>
                  </a:cubicBezTo>
                  <a:lnTo>
                    <a:pt x="12019387" y="3108976"/>
                  </a:lnTo>
                  <a:cubicBezTo>
                    <a:pt x="12025358" y="3132574"/>
                    <a:pt x="12031330" y="3156215"/>
                    <a:pt x="12037301" y="3179898"/>
                  </a:cubicBezTo>
                  <a:close/>
                  <a:moveTo>
                    <a:pt x="6858777" y="3171124"/>
                  </a:moveTo>
                  <a:lnTo>
                    <a:pt x="6857498" y="3165032"/>
                  </a:lnTo>
                  <a:cubicBezTo>
                    <a:pt x="6881504" y="3159913"/>
                    <a:pt x="6905389" y="3154186"/>
                    <a:pt x="6928420" y="3148032"/>
                  </a:cubicBezTo>
                  <a:lnTo>
                    <a:pt x="6930005" y="3154125"/>
                  </a:lnTo>
                  <a:cubicBezTo>
                    <a:pt x="6906729" y="3159913"/>
                    <a:pt x="6882784" y="3165641"/>
                    <a:pt x="6858656" y="3170820"/>
                  </a:cubicBezTo>
                  <a:close/>
                  <a:moveTo>
                    <a:pt x="5912603" y="3158939"/>
                  </a:moveTo>
                  <a:cubicBezTo>
                    <a:pt x="5888901" y="3154856"/>
                    <a:pt x="5864712" y="3150469"/>
                    <a:pt x="5840584" y="3145900"/>
                  </a:cubicBezTo>
                  <a:lnTo>
                    <a:pt x="5841742" y="3139807"/>
                  </a:lnTo>
                  <a:cubicBezTo>
                    <a:pt x="5866114" y="3144376"/>
                    <a:pt x="5889998" y="3148763"/>
                    <a:pt x="5913639" y="3152846"/>
                  </a:cubicBezTo>
                  <a:close/>
                  <a:moveTo>
                    <a:pt x="7000256" y="3132922"/>
                  </a:moveTo>
                  <a:lnTo>
                    <a:pt x="6998367" y="3126829"/>
                  </a:lnTo>
                  <a:cubicBezTo>
                    <a:pt x="7016098" y="3121041"/>
                    <a:pt x="7033706" y="3114643"/>
                    <a:pt x="7050828" y="3108550"/>
                  </a:cubicBezTo>
                  <a:lnTo>
                    <a:pt x="7066913" y="3102457"/>
                  </a:lnTo>
                  <a:lnTo>
                    <a:pt x="7069167" y="3108123"/>
                  </a:lnTo>
                  <a:cubicBezTo>
                    <a:pt x="7063745" y="3110256"/>
                    <a:pt x="7058383" y="3112388"/>
                    <a:pt x="7052960" y="3114216"/>
                  </a:cubicBezTo>
                  <a:cubicBezTo>
                    <a:pt x="7035656" y="3120797"/>
                    <a:pt x="7017925" y="3127073"/>
                    <a:pt x="7000134" y="3132922"/>
                  </a:cubicBezTo>
                  <a:close/>
                  <a:moveTo>
                    <a:pt x="5768809" y="3131703"/>
                  </a:moveTo>
                  <a:cubicBezTo>
                    <a:pt x="5745108" y="3126768"/>
                    <a:pt x="5721040" y="3121589"/>
                    <a:pt x="5697278" y="3116288"/>
                  </a:cubicBezTo>
                  <a:lnTo>
                    <a:pt x="5698557" y="3110195"/>
                  </a:lnTo>
                  <a:cubicBezTo>
                    <a:pt x="5722320" y="3115496"/>
                    <a:pt x="5746387" y="3120614"/>
                    <a:pt x="5770028" y="3125549"/>
                  </a:cubicBezTo>
                  <a:close/>
                  <a:moveTo>
                    <a:pt x="5625929" y="3099837"/>
                  </a:moveTo>
                  <a:cubicBezTo>
                    <a:pt x="5602410" y="3094231"/>
                    <a:pt x="5578526" y="3088382"/>
                    <a:pt x="5554885" y="3082350"/>
                  </a:cubicBezTo>
                  <a:lnTo>
                    <a:pt x="5556409" y="3076257"/>
                  </a:lnTo>
                  <a:cubicBezTo>
                    <a:pt x="5579988" y="3082350"/>
                    <a:pt x="5603873" y="3088138"/>
                    <a:pt x="5627392" y="3093744"/>
                  </a:cubicBezTo>
                  <a:close/>
                  <a:moveTo>
                    <a:pt x="619349" y="3096364"/>
                  </a:moveTo>
                  <a:lnTo>
                    <a:pt x="614353" y="3092891"/>
                  </a:lnTo>
                  <a:cubicBezTo>
                    <a:pt x="628367" y="3073028"/>
                    <a:pt x="642582" y="3053147"/>
                    <a:pt x="657004" y="3033241"/>
                  </a:cubicBezTo>
                  <a:lnTo>
                    <a:pt x="661939" y="3036775"/>
                  </a:lnTo>
                  <a:cubicBezTo>
                    <a:pt x="647480" y="3056717"/>
                    <a:pt x="633241" y="3076580"/>
                    <a:pt x="619227" y="3096364"/>
                  </a:cubicBezTo>
                  <a:close/>
                  <a:moveTo>
                    <a:pt x="7136251" y="3078694"/>
                  </a:moveTo>
                  <a:lnTo>
                    <a:pt x="7133631" y="3073211"/>
                  </a:lnTo>
                  <a:cubicBezTo>
                    <a:pt x="7155017" y="3063036"/>
                    <a:pt x="7176890" y="3051885"/>
                    <a:pt x="7198521" y="3040126"/>
                  </a:cubicBezTo>
                  <a:lnTo>
                    <a:pt x="7201445" y="3045427"/>
                  </a:lnTo>
                  <a:cubicBezTo>
                    <a:pt x="7179572" y="3057308"/>
                    <a:pt x="7157637" y="3068519"/>
                    <a:pt x="7136129" y="3078694"/>
                  </a:cubicBezTo>
                  <a:close/>
                  <a:moveTo>
                    <a:pt x="5483963" y="3063889"/>
                  </a:moveTo>
                  <a:cubicBezTo>
                    <a:pt x="5460749" y="3057796"/>
                    <a:pt x="5436987" y="3051154"/>
                    <a:pt x="5413407" y="3044513"/>
                  </a:cubicBezTo>
                  <a:lnTo>
                    <a:pt x="5415052" y="3038420"/>
                  </a:lnTo>
                  <a:cubicBezTo>
                    <a:pt x="5438632" y="3045000"/>
                    <a:pt x="5462333" y="3051520"/>
                    <a:pt x="5485548" y="3057735"/>
                  </a:cubicBezTo>
                  <a:close/>
                  <a:moveTo>
                    <a:pt x="11994893" y="3039517"/>
                  </a:moveTo>
                  <a:cubicBezTo>
                    <a:pt x="11988739" y="3015876"/>
                    <a:pt x="11982646" y="2992315"/>
                    <a:pt x="11976614" y="2968838"/>
                  </a:cubicBezTo>
                  <a:lnTo>
                    <a:pt x="11982707" y="2967254"/>
                  </a:lnTo>
                  <a:cubicBezTo>
                    <a:pt x="11988922" y="2990730"/>
                    <a:pt x="11995137" y="3014310"/>
                    <a:pt x="12001291" y="3037994"/>
                  </a:cubicBezTo>
                  <a:close/>
                  <a:moveTo>
                    <a:pt x="5343094" y="3024223"/>
                  </a:moveTo>
                  <a:cubicBezTo>
                    <a:pt x="5319819" y="3017338"/>
                    <a:pt x="5296239" y="3010210"/>
                    <a:pt x="5273025" y="3003081"/>
                  </a:cubicBezTo>
                  <a:lnTo>
                    <a:pt x="5274854" y="2996988"/>
                  </a:lnTo>
                  <a:cubicBezTo>
                    <a:pt x="5298007" y="3004117"/>
                    <a:pt x="5321586" y="3011245"/>
                    <a:pt x="5344801" y="3018130"/>
                  </a:cubicBezTo>
                  <a:close/>
                  <a:moveTo>
                    <a:pt x="7264690" y="3008747"/>
                  </a:moveTo>
                  <a:lnTo>
                    <a:pt x="7261461" y="3003507"/>
                  </a:lnTo>
                  <a:cubicBezTo>
                    <a:pt x="7281751" y="2991321"/>
                    <a:pt x="7302345" y="2977795"/>
                    <a:pt x="7322817" y="2963964"/>
                  </a:cubicBezTo>
                  <a:lnTo>
                    <a:pt x="7326229" y="2969021"/>
                  </a:lnTo>
                  <a:cubicBezTo>
                    <a:pt x="7305695" y="2982913"/>
                    <a:pt x="7284979" y="2996257"/>
                    <a:pt x="7264690" y="3008747"/>
                  </a:cubicBezTo>
                  <a:close/>
                  <a:moveTo>
                    <a:pt x="5203261" y="2981085"/>
                  </a:moveTo>
                  <a:cubicBezTo>
                    <a:pt x="5180108" y="2973652"/>
                    <a:pt x="5156936" y="2966054"/>
                    <a:pt x="5133741" y="2958298"/>
                  </a:cubicBezTo>
                  <a:lnTo>
                    <a:pt x="5135629" y="2952205"/>
                  </a:lnTo>
                  <a:cubicBezTo>
                    <a:pt x="5158862" y="2959924"/>
                    <a:pt x="5182039" y="2967516"/>
                    <a:pt x="5205150" y="2974992"/>
                  </a:cubicBezTo>
                  <a:close/>
                  <a:moveTo>
                    <a:pt x="704711" y="2977673"/>
                  </a:moveTo>
                  <a:lnTo>
                    <a:pt x="699776" y="2974078"/>
                  </a:lnTo>
                  <a:cubicBezTo>
                    <a:pt x="714156" y="2954459"/>
                    <a:pt x="728675" y="2934840"/>
                    <a:pt x="743341" y="2915220"/>
                  </a:cubicBezTo>
                  <a:lnTo>
                    <a:pt x="748215" y="2918876"/>
                  </a:lnTo>
                  <a:cubicBezTo>
                    <a:pt x="733897" y="2938374"/>
                    <a:pt x="719030" y="2957993"/>
                    <a:pt x="704711" y="2977673"/>
                  </a:cubicBezTo>
                  <a:close/>
                  <a:moveTo>
                    <a:pt x="5064464" y="2935022"/>
                  </a:moveTo>
                  <a:cubicBezTo>
                    <a:pt x="5041493" y="2927041"/>
                    <a:pt x="5018462" y="2918998"/>
                    <a:pt x="4995430" y="2910651"/>
                  </a:cubicBezTo>
                  <a:lnTo>
                    <a:pt x="4997502" y="2904923"/>
                  </a:lnTo>
                  <a:cubicBezTo>
                    <a:pt x="5020473" y="2913149"/>
                    <a:pt x="5043504" y="2921252"/>
                    <a:pt x="5066413" y="2929295"/>
                  </a:cubicBezTo>
                  <a:close/>
                  <a:moveTo>
                    <a:pt x="7385879" y="2926980"/>
                  </a:moveTo>
                  <a:lnTo>
                    <a:pt x="7382284" y="2922105"/>
                  </a:lnTo>
                  <a:cubicBezTo>
                    <a:pt x="7401355" y="2908031"/>
                    <a:pt x="7420852" y="2893103"/>
                    <a:pt x="7440228" y="2877688"/>
                  </a:cubicBezTo>
                  <a:lnTo>
                    <a:pt x="7444006" y="2882501"/>
                  </a:lnTo>
                  <a:cubicBezTo>
                    <a:pt x="7424691" y="2897673"/>
                    <a:pt x="7405133" y="2912661"/>
                    <a:pt x="7386001" y="2926736"/>
                  </a:cubicBezTo>
                  <a:close/>
                  <a:moveTo>
                    <a:pt x="11957178" y="2898343"/>
                  </a:moveTo>
                  <a:cubicBezTo>
                    <a:pt x="11950780" y="2874745"/>
                    <a:pt x="11944322" y="2851244"/>
                    <a:pt x="11937802" y="2827847"/>
                  </a:cubicBezTo>
                  <a:lnTo>
                    <a:pt x="11943895" y="2826202"/>
                  </a:lnTo>
                  <a:cubicBezTo>
                    <a:pt x="11950354" y="2849599"/>
                    <a:pt x="11956812" y="2873118"/>
                    <a:pt x="11963271" y="2896759"/>
                  </a:cubicBezTo>
                  <a:close/>
                  <a:moveTo>
                    <a:pt x="4926519" y="2885730"/>
                  </a:moveTo>
                  <a:cubicBezTo>
                    <a:pt x="4903732" y="2877322"/>
                    <a:pt x="4880901" y="2868749"/>
                    <a:pt x="4858034" y="2860018"/>
                  </a:cubicBezTo>
                  <a:lnTo>
                    <a:pt x="4860228" y="2854352"/>
                  </a:lnTo>
                  <a:cubicBezTo>
                    <a:pt x="4883015" y="2863004"/>
                    <a:pt x="4905822" y="2871552"/>
                    <a:pt x="4928652" y="2880003"/>
                  </a:cubicBezTo>
                  <a:close/>
                  <a:moveTo>
                    <a:pt x="792206" y="2860627"/>
                  </a:moveTo>
                  <a:lnTo>
                    <a:pt x="787393" y="2856911"/>
                  </a:lnTo>
                  <a:cubicBezTo>
                    <a:pt x="802138" y="2837614"/>
                    <a:pt x="817047" y="2818300"/>
                    <a:pt x="832115" y="2798967"/>
                  </a:cubicBezTo>
                  <a:lnTo>
                    <a:pt x="836929" y="2802684"/>
                  </a:lnTo>
                  <a:cubicBezTo>
                    <a:pt x="821983" y="2821858"/>
                    <a:pt x="807116" y="2841087"/>
                    <a:pt x="792328" y="2860384"/>
                  </a:cubicBezTo>
                  <a:close/>
                  <a:moveTo>
                    <a:pt x="7500548" y="2836256"/>
                  </a:moveTo>
                  <a:lnTo>
                    <a:pt x="7497075" y="2831442"/>
                  </a:lnTo>
                  <a:cubicBezTo>
                    <a:pt x="7515354" y="2816088"/>
                    <a:pt x="7533633" y="2799942"/>
                    <a:pt x="7551912" y="2783369"/>
                  </a:cubicBezTo>
                  <a:lnTo>
                    <a:pt x="7555994" y="2787938"/>
                  </a:lnTo>
                  <a:cubicBezTo>
                    <a:pt x="7537472" y="2804207"/>
                    <a:pt x="7518888" y="2820414"/>
                    <a:pt x="7500731" y="2835768"/>
                  </a:cubicBezTo>
                  <a:close/>
                  <a:moveTo>
                    <a:pt x="4789732" y="2833880"/>
                  </a:moveTo>
                  <a:cubicBezTo>
                    <a:pt x="4767067" y="2824984"/>
                    <a:pt x="4744401" y="2815966"/>
                    <a:pt x="4721735" y="2806827"/>
                  </a:cubicBezTo>
                  <a:lnTo>
                    <a:pt x="4724050" y="2801160"/>
                  </a:lnTo>
                  <a:cubicBezTo>
                    <a:pt x="4746674" y="2810300"/>
                    <a:pt x="4769321" y="2819317"/>
                    <a:pt x="4791987" y="2828213"/>
                  </a:cubicBezTo>
                  <a:close/>
                  <a:moveTo>
                    <a:pt x="4654042" y="2779043"/>
                  </a:moveTo>
                  <a:cubicBezTo>
                    <a:pt x="4631578" y="2769702"/>
                    <a:pt x="4609095" y="2760258"/>
                    <a:pt x="4586593" y="2750711"/>
                  </a:cubicBezTo>
                  <a:lnTo>
                    <a:pt x="4588970" y="2745105"/>
                  </a:lnTo>
                  <a:cubicBezTo>
                    <a:pt x="4611434" y="2754689"/>
                    <a:pt x="4633893" y="2764133"/>
                    <a:pt x="4656358" y="2773437"/>
                  </a:cubicBezTo>
                  <a:close/>
                  <a:moveTo>
                    <a:pt x="11918000" y="2757657"/>
                  </a:moveTo>
                  <a:cubicBezTo>
                    <a:pt x="11911359" y="2734095"/>
                    <a:pt x="11904657" y="2710662"/>
                    <a:pt x="11897894" y="2687344"/>
                  </a:cubicBezTo>
                  <a:lnTo>
                    <a:pt x="11903987" y="2685638"/>
                  </a:lnTo>
                  <a:cubicBezTo>
                    <a:pt x="11910750" y="2708992"/>
                    <a:pt x="11917513" y="2732432"/>
                    <a:pt x="11924154" y="2755950"/>
                  </a:cubicBezTo>
                  <a:close/>
                  <a:moveTo>
                    <a:pt x="882199" y="2745471"/>
                  </a:moveTo>
                  <a:lnTo>
                    <a:pt x="877447" y="2741693"/>
                  </a:lnTo>
                  <a:cubicBezTo>
                    <a:pt x="892618" y="2722622"/>
                    <a:pt x="907911" y="2703490"/>
                    <a:pt x="923266" y="2684846"/>
                  </a:cubicBezTo>
                  <a:lnTo>
                    <a:pt x="928018" y="2688684"/>
                  </a:lnTo>
                  <a:cubicBezTo>
                    <a:pt x="912969" y="2706841"/>
                    <a:pt x="897553" y="2725973"/>
                    <a:pt x="882382" y="2744983"/>
                  </a:cubicBezTo>
                  <a:close/>
                  <a:moveTo>
                    <a:pt x="7609551" y="2738464"/>
                  </a:moveTo>
                  <a:lnTo>
                    <a:pt x="7605347" y="2734016"/>
                  </a:lnTo>
                  <a:cubicBezTo>
                    <a:pt x="7622590" y="2717748"/>
                    <a:pt x="7640260" y="2700627"/>
                    <a:pt x="7657868" y="2683201"/>
                  </a:cubicBezTo>
                  <a:lnTo>
                    <a:pt x="7662194" y="2687527"/>
                  </a:lnTo>
                  <a:cubicBezTo>
                    <a:pt x="7644708" y="2704526"/>
                    <a:pt x="7627038" y="2721769"/>
                    <a:pt x="7609734" y="2737976"/>
                  </a:cubicBezTo>
                  <a:close/>
                  <a:moveTo>
                    <a:pt x="4519388" y="2721830"/>
                  </a:moveTo>
                  <a:cubicBezTo>
                    <a:pt x="4497009" y="2712039"/>
                    <a:pt x="4474666" y="2702150"/>
                    <a:pt x="4452365" y="2692157"/>
                  </a:cubicBezTo>
                  <a:lnTo>
                    <a:pt x="4454864" y="2686613"/>
                  </a:lnTo>
                  <a:cubicBezTo>
                    <a:pt x="4477207" y="2696605"/>
                    <a:pt x="4499543" y="2706476"/>
                    <a:pt x="4521886" y="2716225"/>
                  </a:cubicBezTo>
                  <a:close/>
                  <a:moveTo>
                    <a:pt x="4385343" y="2661875"/>
                  </a:moveTo>
                  <a:cubicBezTo>
                    <a:pt x="4363086" y="2651682"/>
                    <a:pt x="4340907" y="2641403"/>
                    <a:pt x="4318808" y="2631045"/>
                  </a:cubicBezTo>
                  <a:lnTo>
                    <a:pt x="4321367" y="2625562"/>
                  </a:lnTo>
                  <a:cubicBezTo>
                    <a:pt x="4343503" y="2635919"/>
                    <a:pt x="4365663" y="2646077"/>
                    <a:pt x="4387841" y="2656026"/>
                  </a:cubicBezTo>
                  <a:close/>
                  <a:moveTo>
                    <a:pt x="7713558" y="2635432"/>
                  </a:moveTo>
                  <a:lnTo>
                    <a:pt x="7709171" y="2631228"/>
                  </a:lnTo>
                  <a:cubicBezTo>
                    <a:pt x="7725805" y="2614046"/>
                    <a:pt x="7742743" y="2596193"/>
                    <a:pt x="7759499" y="2578219"/>
                  </a:cubicBezTo>
                  <a:lnTo>
                    <a:pt x="7763947" y="2582362"/>
                  </a:lnTo>
                  <a:cubicBezTo>
                    <a:pt x="7747496" y="2599910"/>
                    <a:pt x="7730497" y="2617762"/>
                    <a:pt x="7713862" y="2634945"/>
                  </a:cubicBezTo>
                  <a:close/>
                  <a:moveTo>
                    <a:pt x="974751" y="2632325"/>
                  </a:moveTo>
                  <a:lnTo>
                    <a:pt x="970060" y="2628425"/>
                  </a:lnTo>
                  <a:cubicBezTo>
                    <a:pt x="985901" y="2609537"/>
                    <a:pt x="1001804" y="2590710"/>
                    <a:pt x="1017463" y="2572431"/>
                  </a:cubicBezTo>
                  <a:lnTo>
                    <a:pt x="1022093" y="2576391"/>
                  </a:lnTo>
                  <a:cubicBezTo>
                    <a:pt x="1006496" y="2594122"/>
                    <a:pt x="990532" y="2612949"/>
                    <a:pt x="974751" y="2631837"/>
                  </a:cubicBezTo>
                  <a:close/>
                  <a:moveTo>
                    <a:pt x="11877483" y="2617214"/>
                  </a:moveTo>
                  <a:cubicBezTo>
                    <a:pt x="11870536" y="2593817"/>
                    <a:pt x="11863590" y="2570420"/>
                    <a:pt x="11856583" y="2547206"/>
                  </a:cubicBezTo>
                  <a:lnTo>
                    <a:pt x="11862676" y="2545439"/>
                  </a:lnTo>
                  <a:cubicBezTo>
                    <a:pt x="11869744" y="2568714"/>
                    <a:pt x="11876751" y="2592068"/>
                    <a:pt x="11883636" y="2615508"/>
                  </a:cubicBezTo>
                  <a:close/>
                  <a:moveTo>
                    <a:pt x="4252882" y="2599179"/>
                  </a:moveTo>
                  <a:cubicBezTo>
                    <a:pt x="4230905" y="2588620"/>
                    <a:pt x="4208952" y="2577957"/>
                    <a:pt x="4187017" y="2567191"/>
                  </a:cubicBezTo>
                  <a:lnTo>
                    <a:pt x="4189698" y="2561768"/>
                  </a:lnTo>
                  <a:cubicBezTo>
                    <a:pt x="4211572" y="2572492"/>
                    <a:pt x="4233568" y="2583154"/>
                    <a:pt x="4255502" y="2593695"/>
                  </a:cubicBezTo>
                  <a:close/>
                  <a:moveTo>
                    <a:pt x="4121579" y="2534654"/>
                  </a:moveTo>
                  <a:cubicBezTo>
                    <a:pt x="4099766" y="2523766"/>
                    <a:pt x="4077996" y="2512763"/>
                    <a:pt x="4056263" y="2501631"/>
                  </a:cubicBezTo>
                  <a:lnTo>
                    <a:pt x="4059065" y="2496208"/>
                  </a:lnTo>
                  <a:cubicBezTo>
                    <a:pt x="4080756" y="2507297"/>
                    <a:pt x="4102490" y="2518307"/>
                    <a:pt x="4124260" y="2529232"/>
                  </a:cubicBezTo>
                  <a:close/>
                  <a:moveTo>
                    <a:pt x="7813909" y="2527952"/>
                  </a:moveTo>
                  <a:lnTo>
                    <a:pt x="7809400" y="2523870"/>
                  </a:lnTo>
                  <a:cubicBezTo>
                    <a:pt x="7825303" y="2506200"/>
                    <a:pt x="7841632" y="2487800"/>
                    <a:pt x="7858144" y="2469034"/>
                  </a:cubicBezTo>
                  <a:lnTo>
                    <a:pt x="7862775" y="2473055"/>
                  </a:lnTo>
                  <a:cubicBezTo>
                    <a:pt x="7846019" y="2491821"/>
                    <a:pt x="7829628" y="2510283"/>
                    <a:pt x="7813909" y="2527952"/>
                  </a:cubicBezTo>
                  <a:close/>
                  <a:moveTo>
                    <a:pt x="1070228" y="2520702"/>
                  </a:moveTo>
                  <a:lnTo>
                    <a:pt x="1065658" y="2516680"/>
                  </a:lnTo>
                  <a:cubicBezTo>
                    <a:pt x="1081926" y="2498402"/>
                    <a:pt x="1098377" y="2480123"/>
                    <a:pt x="1114402" y="2461844"/>
                  </a:cubicBezTo>
                  <a:lnTo>
                    <a:pt x="1118911" y="2465987"/>
                  </a:lnTo>
                  <a:cubicBezTo>
                    <a:pt x="1102886" y="2483717"/>
                    <a:pt x="1086496" y="2502057"/>
                    <a:pt x="1070228" y="2520702"/>
                  </a:cubicBezTo>
                  <a:close/>
                  <a:moveTo>
                    <a:pt x="11835258" y="2476832"/>
                  </a:moveTo>
                  <a:cubicBezTo>
                    <a:pt x="11828008" y="2453436"/>
                    <a:pt x="11820696" y="2430160"/>
                    <a:pt x="11813446" y="2407007"/>
                  </a:cubicBezTo>
                  <a:lnTo>
                    <a:pt x="11819234" y="2405179"/>
                  </a:lnTo>
                  <a:cubicBezTo>
                    <a:pt x="11826545" y="2428333"/>
                    <a:pt x="11833796" y="2451607"/>
                    <a:pt x="11841046" y="2475004"/>
                  </a:cubicBezTo>
                  <a:close/>
                  <a:moveTo>
                    <a:pt x="3991251" y="2467997"/>
                  </a:moveTo>
                  <a:cubicBezTo>
                    <a:pt x="3969602" y="2456665"/>
                    <a:pt x="3948052" y="2445271"/>
                    <a:pt x="3926604" y="2433816"/>
                  </a:cubicBezTo>
                  <a:lnTo>
                    <a:pt x="3929468" y="2428454"/>
                  </a:lnTo>
                  <a:cubicBezTo>
                    <a:pt x="3950958" y="2439909"/>
                    <a:pt x="3972485" y="2451285"/>
                    <a:pt x="3994054" y="2462575"/>
                  </a:cubicBezTo>
                  <a:close/>
                  <a:moveTo>
                    <a:pt x="7910117" y="2417670"/>
                  </a:moveTo>
                  <a:lnTo>
                    <a:pt x="7905486" y="2413770"/>
                  </a:lnTo>
                  <a:cubicBezTo>
                    <a:pt x="7920902" y="2395492"/>
                    <a:pt x="7936743" y="2376725"/>
                    <a:pt x="7952463" y="2357715"/>
                  </a:cubicBezTo>
                  <a:lnTo>
                    <a:pt x="7957154" y="2361615"/>
                  </a:lnTo>
                  <a:cubicBezTo>
                    <a:pt x="7941374" y="2380564"/>
                    <a:pt x="7925593" y="2399513"/>
                    <a:pt x="7910117" y="2417670"/>
                  </a:cubicBezTo>
                  <a:close/>
                  <a:moveTo>
                    <a:pt x="1168446" y="2412125"/>
                  </a:moveTo>
                  <a:lnTo>
                    <a:pt x="1163998" y="2407982"/>
                  </a:lnTo>
                  <a:cubicBezTo>
                    <a:pt x="1180815" y="2389703"/>
                    <a:pt x="1197753" y="2372094"/>
                    <a:pt x="1214387" y="2354791"/>
                  </a:cubicBezTo>
                  <a:lnTo>
                    <a:pt x="1218774" y="2359055"/>
                  </a:lnTo>
                  <a:cubicBezTo>
                    <a:pt x="1202140" y="2376299"/>
                    <a:pt x="1185202" y="2394151"/>
                    <a:pt x="1168446" y="2412125"/>
                  </a:cubicBezTo>
                  <a:close/>
                  <a:moveTo>
                    <a:pt x="3862324" y="2398843"/>
                  </a:moveTo>
                  <a:cubicBezTo>
                    <a:pt x="3840956" y="2387187"/>
                    <a:pt x="3819655" y="2375445"/>
                    <a:pt x="3798409" y="2363625"/>
                  </a:cubicBezTo>
                  <a:lnTo>
                    <a:pt x="3801394" y="2358264"/>
                  </a:lnTo>
                  <a:cubicBezTo>
                    <a:pt x="3822598" y="2370084"/>
                    <a:pt x="3843880" y="2381843"/>
                    <a:pt x="3865248" y="2393542"/>
                  </a:cubicBezTo>
                  <a:close/>
                  <a:moveTo>
                    <a:pt x="11791084" y="2337121"/>
                  </a:moveTo>
                  <a:cubicBezTo>
                    <a:pt x="11783590" y="2313846"/>
                    <a:pt x="11776035" y="2290693"/>
                    <a:pt x="11768418" y="2267661"/>
                  </a:cubicBezTo>
                  <a:lnTo>
                    <a:pt x="11774511" y="2265712"/>
                  </a:lnTo>
                  <a:cubicBezTo>
                    <a:pt x="11782128" y="2288786"/>
                    <a:pt x="11789744" y="2311975"/>
                    <a:pt x="11797238" y="2335293"/>
                  </a:cubicBezTo>
                  <a:close/>
                  <a:moveTo>
                    <a:pt x="3734798" y="2328042"/>
                  </a:moveTo>
                  <a:cubicBezTo>
                    <a:pt x="3713637" y="2315857"/>
                    <a:pt x="3692556" y="2303671"/>
                    <a:pt x="3671554" y="2291485"/>
                  </a:cubicBezTo>
                  <a:lnTo>
                    <a:pt x="3674661" y="2286245"/>
                  </a:lnTo>
                  <a:cubicBezTo>
                    <a:pt x="3695621" y="2298431"/>
                    <a:pt x="3716684" y="2310617"/>
                    <a:pt x="3737845" y="2322803"/>
                  </a:cubicBezTo>
                  <a:close/>
                  <a:moveTo>
                    <a:pt x="1270077" y="2306778"/>
                  </a:moveTo>
                  <a:lnTo>
                    <a:pt x="1265812" y="2302452"/>
                  </a:lnTo>
                  <a:cubicBezTo>
                    <a:pt x="1283055" y="2285148"/>
                    <a:pt x="1300541" y="2267844"/>
                    <a:pt x="1317906" y="2251027"/>
                  </a:cubicBezTo>
                  <a:lnTo>
                    <a:pt x="1322110" y="2255415"/>
                  </a:lnTo>
                  <a:cubicBezTo>
                    <a:pt x="1304685" y="2272170"/>
                    <a:pt x="1287137" y="2289474"/>
                    <a:pt x="1270077" y="2306778"/>
                  </a:cubicBezTo>
                  <a:close/>
                  <a:moveTo>
                    <a:pt x="8003705" y="2304950"/>
                  </a:moveTo>
                  <a:lnTo>
                    <a:pt x="7998952" y="2301112"/>
                  </a:lnTo>
                  <a:cubicBezTo>
                    <a:pt x="8014184" y="2282223"/>
                    <a:pt x="8029417" y="2263171"/>
                    <a:pt x="8044649" y="2243960"/>
                  </a:cubicBezTo>
                  <a:lnTo>
                    <a:pt x="8049402" y="2247798"/>
                  </a:lnTo>
                  <a:cubicBezTo>
                    <a:pt x="8034047" y="2266991"/>
                    <a:pt x="8018754" y="2286062"/>
                    <a:pt x="8003522" y="2304950"/>
                  </a:cubicBezTo>
                  <a:close/>
                  <a:moveTo>
                    <a:pt x="3608674" y="2254744"/>
                  </a:moveTo>
                  <a:cubicBezTo>
                    <a:pt x="3587672" y="2242235"/>
                    <a:pt x="3566736" y="2229702"/>
                    <a:pt x="3545856" y="2217151"/>
                  </a:cubicBezTo>
                  <a:lnTo>
                    <a:pt x="3549024" y="2211911"/>
                  </a:lnTo>
                  <a:cubicBezTo>
                    <a:pt x="3569801" y="2224523"/>
                    <a:pt x="3590761" y="2237014"/>
                    <a:pt x="3611721" y="2249504"/>
                  </a:cubicBezTo>
                  <a:close/>
                  <a:moveTo>
                    <a:pt x="1375119" y="2205026"/>
                  </a:moveTo>
                  <a:lnTo>
                    <a:pt x="1370976" y="2200578"/>
                  </a:lnTo>
                  <a:cubicBezTo>
                    <a:pt x="1389255" y="2183700"/>
                    <a:pt x="1407168" y="2167067"/>
                    <a:pt x="1425020" y="2151103"/>
                  </a:cubicBezTo>
                  <a:lnTo>
                    <a:pt x="1429042" y="2155673"/>
                  </a:lnTo>
                  <a:cubicBezTo>
                    <a:pt x="1411129" y="2171575"/>
                    <a:pt x="1392972" y="2188209"/>
                    <a:pt x="1374936" y="2205026"/>
                  </a:cubicBezTo>
                  <a:close/>
                  <a:moveTo>
                    <a:pt x="11745326" y="2198567"/>
                  </a:moveTo>
                  <a:cubicBezTo>
                    <a:pt x="11737527" y="2175371"/>
                    <a:pt x="11729667" y="2152322"/>
                    <a:pt x="11721685" y="2129412"/>
                  </a:cubicBezTo>
                  <a:lnTo>
                    <a:pt x="11727778" y="2127402"/>
                  </a:lnTo>
                  <a:cubicBezTo>
                    <a:pt x="11735699" y="2150311"/>
                    <a:pt x="11743559" y="2173385"/>
                    <a:pt x="11751419" y="2196617"/>
                  </a:cubicBezTo>
                  <a:close/>
                  <a:moveTo>
                    <a:pt x="8094185" y="2190159"/>
                  </a:moveTo>
                  <a:lnTo>
                    <a:pt x="8089371" y="2186442"/>
                  </a:lnTo>
                  <a:cubicBezTo>
                    <a:pt x="8104238" y="2167231"/>
                    <a:pt x="8119105" y="2147892"/>
                    <a:pt x="8133972" y="2128437"/>
                  </a:cubicBezTo>
                  <a:lnTo>
                    <a:pt x="8138785" y="2132154"/>
                  </a:lnTo>
                  <a:cubicBezTo>
                    <a:pt x="8124101" y="2151529"/>
                    <a:pt x="8109234" y="2170863"/>
                    <a:pt x="8094185" y="2190159"/>
                  </a:cubicBezTo>
                  <a:close/>
                  <a:moveTo>
                    <a:pt x="3482977" y="2179009"/>
                  </a:moveTo>
                  <a:cubicBezTo>
                    <a:pt x="3462181" y="2166134"/>
                    <a:pt x="3441502" y="2153217"/>
                    <a:pt x="3420950" y="2140258"/>
                  </a:cubicBezTo>
                  <a:lnTo>
                    <a:pt x="3424179" y="2135139"/>
                  </a:lnTo>
                  <a:cubicBezTo>
                    <a:pt x="3444774" y="2148057"/>
                    <a:pt x="3465447" y="2160955"/>
                    <a:pt x="3486206" y="2173830"/>
                  </a:cubicBezTo>
                  <a:close/>
                  <a:moveTo>
                    <a:pt x="1483878" y="2107477"/>
                  </a:moveTo>
                  <a:lnTo>
                    <a:pt x="1479918" y="2102847"/>
                  </a:lnTo>
                  <a:cubicBezTo>
                    <a:pt x="1498502" y="2086883"/>
                    <a:pt x="1517390" y="2071103"/>
                    <a:pt x="1536034" y="2055870"/>
                  </a:cubicBezTo>
                  <a:lnTo>
                    <a:pt x="1539934" y="2060562"/>
                  </a:lnTo>
                  <a:cubicBezTo>
                    <a:pt x="1521289" y="2075916"/>
                    <a:pt x="1502462" y="2091575"/>
                    <a:pt x="1483878" y="2107477"/>
                  </a:cubicBezTo>
                  <a:close/>
                  <a:moveTo>
                    <a:pt x="3359472" y="2100958"/>
                  </a:moveTo>
                  <a:cubicBezTo>
                    <a:pt x="3338878" y="2087755"/>
                    <a:pt x="3318424" y="2074454"/>
                    <a:pt x="3298116" y="2061049"/>
                  </a:cubicBezTo>
                  <a:lnTo>
                    <a:pt x="3301468" y="2055992"/>
                  </a:lnTo>
                  <a:cubicBezTo>
                    <a:pt x="3321775" y="2069317"/>
                    <a:pt x="3342211" y="2082600"/>
                    <a:pt x="3362763" y="2095840"/>
                  </a:cubicBezTo>
                  <a:close/>
                  <a:moveTo>
                    <a:pt x="8183203" y="2073784"/>
                  </a:moveTo>
                  <a:lnTo>
                    <a:pt x="8178329" y="2070128"/>
                  </a:lnTo>
                  <a:cubicBezTo>
                    <a:pt x="8192951" y="2050709"/>
                    <a:pt x="8207514" y="2031175"/>
                    <a:pt x="8222076" y="2011513"/>
                  </a:cubicBezTo>
                  <a:lnTo>
                    <a:pt x="8226951" y="2015108"/>
                  </a:lnTo>
                  <a:cubicBezTo>
                    <a:pt x="8212388" y="2034807"/>
                    <a:pt x="8197826" y="2054365"/>
                    <a:pt x="8183203" y="2073784"/>
                  </a:cubicBezTo>
                  <a:close/>
                  <a:moveTo>
                    <a:pt x="11697374" y="2060379"/>
                  </a:moveTo>
                  <a:cubicBezTo>
                    <a:pt x="11689271" y="2037268"/>
                    <a:pt x="11681106" y="2014334"/>
                    <a:pt x="11673003" y="1991589"/>
                  </a:cubicBezTo>
                  <a:lnTo>
                    <a:pt x="11678730" y="1989457"/>
                  </a:lnTo>
                  <a:cubicBezTo>
                    <a:pt x="11687017" y="2012305"/>
                    <a:pt x="11695181" y="2035276"/>
                    <a:pt x="11703102" y="2058368"/>
                  </a:cubicBezTo>
                  <a:close/>
                  <a:moveTo>
                    <a:pt x="3237187" y="2020531"/>
                  </a:moveTo>
                  <a:cubicBezTo>
                    <a:pt x="3216879" y="2006883"/>
                    <a:pt x="3196711" y="1993192"/>
                    <a:pt x="3176684" y="1979464"/>
                  </a:cubicBezTo>
                  <a:lnTo>
                    <a:pt x="3180096" y="1974407"/>
                  </a:lnTo>
                  <a:cubicBezTo>
                    <a:pt x="3200124" y="1988177"/>
                    <a:pt x="3220291" y="2001868"/>
                    <a:pt x="3240599" y="2015474"/>
                  </a:cubicBezTo>
                  <a:close/>
                  <a:moveTo>
                    <a:pt x="1597086" y="2014986"/>
                  </a:moveTo>
                  <a:lnTo>
                    <a:pt x="1593369" y="2010173"/>
                  </a:lnTo>
                  <a:cubicBezTo>
                    <a:pt x="1612805" y="1995062"/>
                    <a:pt x="1632546" y="1980256"/>
                    <a:pt x="1651922" y="1966121"/>
                  </a:cubicBezTo>
                  <a:lnTo>
                    <a:pt x="1655517" y="1971056"/>
                  </a:lnTo>
                  <a:cubicBezTo>
                    <a:pt x="1636141" y="1985314"/>
                    <a:pt x="1616522" y="2000059"/>
                    <a:pt x="1597086" y="2014986"/>
                  </a:cubicBezTo>
                  <a:close/>
                  <a:moveTo>
                    <a:pt x="8270332" y="1956007"/>
                  </a:moveTo>
                  <a:lnTo>
                    <a:pt x="8265458" y="1952412"/>
                  </a:lnTo>
                  <a:cubicBezTo>
                    <a:pt x="8279715" y="1932835"/>
                    <a:pt x="8293912" y="1913191"/>
                    <a:pt x="8308108" y="1893493"/>
                  </a:cubicBezTo>
                  <a:lnTo>
                    <a:pt x="8313044" y="1897027"/>
                  </a:lnTo>
                  <a:cubicBezTo>
                    <a:pt x="8298908" y="1916847"/>
                    <a:pt x="8284651" y="1936552"/>
                    <a:pt x="8270332" y="1956129"/>
                  </a:cubicBezTo>
                  <a:close/>
                  <a:moveTo>
                    <a:pt x="3116546" y="1937728"/>
                  </a:moveTo>
                  <a:cubicBezTo>
                    <a:pt x="3096482" y="1923635"/>
                    <a:pt x="3076595" y="1909414"/>
                    <a:pt x="3056896" y="1895077"/>
                  </a:cubicBezTo>
                  <a:lnTo>
                    <a:pt x="3060491" y="1890142"/>
                  </a:lnTo>
                  <a:cubicBezTo>
                    <a:pt x="3080153" y="1904320"/>
                    <a:pt x="3100016" y="1918431"/>
                    <a:pt x="3120080" y="1932488"/>
                  </a:cubicBezTo>
                  <a:close/>
                  <a:moveTo>
                    <a:pt x="1715167" y="1928954"/>
                  </a:moveTo>
                  <a:lnTo>
                    <a:pt x="1711755" y="1923958"/>
                  </a:lnTo>
                  <a:cubicBezTo>
                    <a:pt x="1732166" y="1910005"/>
                    <a:pt x="1752699" y="1896418"/>
                    <a:pt x="1772684" y="1883561"/>
                  </a:cubicBezTo>
                  <a:lnTo>
                    <a:pt x="1775914" y="1888740"/>
                  </a:lnTo>
                  <a:cubicBezTo>
                    <a:pt x="1755990" y="1901475"/>
                    <a:pt x="1735456" y="1915062"/>
                    <a:pt x="1714862" y="1928954"/>
                  </a:cubicBezTo>
                  <a:close/>
                  <a:moveTo>
                    <a:pt x="11647595" y="1922861"/>
                  </a:moveTo>
                  <a:cubicBezTo>
                    <a:pt x="11639065" y="1899909"/>
                    <a:pt x="11630474" y="1877103"/>
                    <a:pt x="11621883" y="1854437"/>
                  </a:cubicBezTo>
                  <a:lnTo>
                    <a:pt x="11627549" y="1852304"/>
                  </a:lnTo>
                  <a:cubicBezTo>
                    <a:pt x="11636201" y="1874970"/>
                    <a:pt x="11644792" y="1897776"/>
                    <a:pt x="11653323" y="1920729"/>
                  </a:cubicBezTo>
                  <a:close/>
                  <a:moveTo>
                    <a:pt x="2997734" y="1852304"/>
                  </a:moveTo>
                  <a:lnTo>
                    <a:pt x="2990300" y="1846821"/>
                  </a:lnTo>
                  <a:cubicBezTo>
                    <a:pt x="2973057" y="1834148"/>
                    <a:pt x="2955449" y="1821901"/>
                    <a:pt x="2937962" y="1810263"/>
                  </a:cubicBezTo>
                  <a:lnTo>
                    <a:pt x="2941313" y="1805145"/>
                  </a:lnTo>
                  <a:cubicBezTo>
                    <a:pt x="2958861" y="1816600"/>
                    <a:pt x="2976591" y="1828908"/>
                    <a:pt x="2993895" y="1841703"/>
                  </a:cubicBezTo>
                  <a:lnTo>
                    <a:pt x="3001329" y="1847186"/>
                  </a:lnTo>
                  <a:close/>
                  <a:moveTo>
                    <a:pt x="1838306" y="1850477"/>
                  </a:moveTo>
                  <a:lnTo>
                    <a:pt x="1835259" y="1845176"/>
                  </a:lnTo>
                  <a:cubicBezTo>
                    <a:pt x="1856584" y="1832685"/>
                    <a:pt x="1877910" y="1820804"/>
                    <a:pt x="1899113" y="1809410"/>
                  </a:cubicBezTo>
                  <a:lnTo>
                    <a:pt x="1901977" y="1814772"/>
                  </a:lnTo>
                  <a:cubicBezTo>
                    <a:pt x="1881017" y="1826105"/>
                    <a:pt x="1859570" y="1838291"/>
                    <a:pt x="1838306" y="1850477"/>
                  </a:cubicBezTo>
                  <a:close/>
                  <a:moveTo>
                    <a:pt x="8356182" y="1837864"/>
                  </a:moveTo>
                  <a:lnTo>
                    <a:pt x="8351246" y="1834330"/>
                  </a:lnTo>
                  <a:lnTo>
                    <a:pt x="8393897" y="1774802"/>
                  </a:lnTo>
                  <a:lnTo>
                    <a:pt x="8398893" y="1778336"/>
                  </a:lnTo>
                  <a:cubicBezTo>
                    <a:pt x="8384392" y="1798199"/>
                    <a:pt x="8370135" y="1818044"/>
                    <a:pt x="8356182" y="1837864"/>
                  </a:cubicBezTo>
                  <a:close/>
                  <a:moveTo>
                    <a:pt x="11595805" y="1786318"/>
                  </a:moveTo>
                  <a:cubicBezTo>
                    <a:pt x="11586909" y="1763487"/>
                    <a:pt x="11577953" y="1740822"/>
                    <a:pt x="11568935" y="1718320"/>
                  </a:cubicBezTo>
                  <a:lnTo>
                    <a:pt x="11574601" y="1716066"/>
                  </a:lnTo>
                  <a:cubicBezTo>
                    <a:pt x="11583619" y="1738567"/>
                    <a:pt x="11592576" y="1761233"/>
                    <a:pt x="11601471" y="1784063"/>
                  </a:cubicBezTo>
                  <a:close/>
                  <a:moveTo>
                    <a:pt x="1967415" y="1782053"/>
                  </a:moveTo>
                  <a:lnTo>
                    <a:pt x="1964795" y="1776569"/>
                  </a:lnTo>
                  <a:cubicBezTo>
                    <a:pt x="1987035" y="1765906"/>
                    <a:pt x="2009517" y="1755853"/>
                    <a:pt x="2031818" y="1746592"/>
                  </a:cubicBezTo>
                  <a:lnTo>
                    <a:pt x="2034133" y="1752197"/>
                  </a:lnTo>
                  <a:cubicBezTo>
                    <a:pt x="2011650" y="1761398"/>
                    <a:pt x="1989045" y="1771268"/>
                    <a:pt x="1967111" y="1782053"/>
                  </a:cubicBezTo>
                  <a:close/>
                  <a:moveTo>
                    <a:pt x="2875875" y="1772913"/>
                  </a:moveTo>
                  <a:cubicBezTo>
                    <a:pt x="2854488" y="1761032"/>
                    <a:pt x="2832615" y="1749943"/>
                    <a:pt x="2810863" y="1740011"/>
                  </a:cubicBezTo>
                  <a:lnTo>
                    <a:pt x="2813422" y="1734467"/>
                  </a:lnTo>
                  <a:cubicBezTo>
                    <a:pt x="2835296" y="1744459"/>
                    <a:pt x="2857291" y="1755609"/>
                    <a:pt x="2878799" y="1767552"/>
                  </a:cubicBezTo>
                  <a:close/>
                  <a:moveTo>
                    <a:pt x="2102069" y="1725815"/>
                  </a:moveTo>
                  <a:lnTo>
                    <a:pt x="2100059" y="1720087"/>
                  </a:lnTo>
                  <a:cubicBezTo>
                    <a:pt x="2123212" y="1711801"/>
                    <a:pt x="2146670" y="1704185"/>
                    <a:pt x="2169579" y="1697483"/>
                  </a:cubicBezTo>
                  <a:lnTo>
                    <a:pt x="2171347" y="1703576"/>
                  </a:lnTo>
                  <a:cubicBezTo>
                    <a:pt x="2147949" y="1709973"/>
                    <a:pt x="2124613" y="1717528"/>
                    <a:pt x="2101521" y="1725815"/>
                  </a:cubicBezTo>
                  <a:close/>
                  <a:moveTo>
                    <a:pt x="8441178" y="1718503"/>
                  </a:moveTo>
                  <a:lnTo>
                    <a:pt x="8436182" y="1715030"/>
                  </a:lnTo>
                  <a:cubicBezTo>
                    <a:pt x="8450256" y="1695045"/>
                    <a:pt x="8464270" y="1675042"/>
                    <a:pt x="8478346" y="1655015"/>
                  </a:cubicBezTo>
                  <a:lnTo>
                    <a:pt x="8483341" y="1658488"/>
                  </a:lnTo>
                  <a:cubicBezTo>
                    <a:pt x="8468962" y="1678515"/>
                    <a:pt x="8454705" y="1698518"/>
                    <a:pt x="8440630" y="1718503"/>
                  </a:cubicBezTo>
                  <a:close/>
                  <a:moveTo>
                    <a:pt x="2743718" y="1712410"/>
                  </a:moveTo>
                  <a:cubicBezTo>
                    <a:pt x="2720870" y="1704124"/>
                    <a:pt x="2697534" y="1696751"/>
                    <a:pt x="2674259" y="1690476"/>
                  </a:cubicBezTo>
                  <a:lnTo>
                    <a:pt x="2675843" y="1684383"/>
                  </a:lnTo>
                  <a:cubicBezTo>
                    <a:pt x="2699240" y="1690476"/>
                    <a:pt x="2722820" y="1698092"/>
                    <a:pt x="2745790" y="1706439"/>
                  </a:cubicBezTo>
                  <a:close/>
                  <a:moveTo>
                    <a:pt x="2241781" y="1685236"/>
                  </a:moveTo>
                  <a:lnTo>
                    <a:pt x="2240441" y="1679143"/>
                  </a:lnTo>
                  <a:cubicBezTo>
                    <a:pt x="2264447" y="1673781"/>
                    <a:pt x="2288636" y="1669272"/>
                    <a:pt x="2312337" y="1665677"/>
                  </a:cubicBezTo>
                  <a:lnTo>
                    <a:pt x="2313251" y="1671770"/>
                  </a:lnTo>
                  <a:cubicBezTo>
                    <a:pt x="2289123" y="1675304"/>
                    <a:pt x="2265056" y="1679874"/>
                    <a:pt x="2241233" y="1685175"/>
                  </a:cubicBezTo>
                  <a:close/>
                  <a:moveTo>
                    <a:pt x="2603215" y="1674573"/>
                  </a:moveTo>
                  <a:cubicBezTo>
                    <a:pt x="2579452" y="1670308"/>
                    <a:pt x="2555203" y="1667018"/>
                    <a:pt x="2531074" y="1664824"/>
                  </a:cubicBezTo>
                  <a:lnTo>
                    <a:pt x="2531623" y="1658731"/>
                  </a:lnTo>
                  <a:cubicBezTo>
                    <a:pt x="2555995" y="1660986"/>
                    <a:pt x="2580366" y="1664276"/>
                    <a:pt x="2604312" y="1668541"/>
                  </a:cubicBezTo>
                  <a:close/>
                  <a:moveTo>
                    <a:pt x="2385087" y="1663667"/>
                  </a:moveTo>
                  <a:lnTo>
                    <a:pt x="2384600" y="1657574"/>
                  </a:lnTo>
                  <a:cubicBezTo>
                    <a:pt x="2407022" y="1655929"/>
                    <a:pt x="2429566" y="1655076"/>
                    <a:pt x="2451622" y="1655076"/>
                  </a:cubicBezTo>
                  <a:lnTo>
                    <a:pt x="2457715" y="1655076"/>
                  </a:lnTo>
                  <a:lnTo>
                    <a:pt x="2457715" y="1661169"/>
                  </a:lnTo>
                  <a:lnTo>
                    <a:pt x="2451622" y="1661169"/>
                  </a:lnTo>
                  <a:cubicBezTo>
                    <a:pt x="2429627" y="1661169"/>
                    <a:pt x="2407266" y="1662022"/>
                    <a:pt x="2385087" y="1663667"/>
                  </a:cubicBezTo>
                  <a:close/>
                  <a:moveTo>
                    <a:pt x="11541212" y="1650567"/>
                  </a:moveTo>
                  <a:cubicBezTo>
                    <a:pt x="11531890" y="1627901"/>
                    <a:pt x="11522507" y="1605418"/>
                    <a:pt x="11513124" y="1583118"/>
                  </a:cubicBezTo>
                  <a:lnTo>
                    <a:pt x="11518729" y="1580742"/>
                  </a:lnTo>
                  <a:cubicBezTo>
                    <a:pt x="11528173" y="1603042"/>
                    <a:pt x="11537556" y="1625543"/>
                    <a:pt x="11546879" y="1648251"/>
                  </a:cubicBezTo>
                  <a:close/>
                  <a:moveTo>
                    <a:pt x="8525200" y="1598289"/>
                  </a:moveTo>
                  <a:lnTo>
                    <a:pt x="8520204" y="1594816"/>
                  </a:lnTo>
                  <a:cubicBezTo>
                    <a:pt x="8534156" y="1574752"/>
                    <a:pt x="8548110" y="1554725"/>
                    <a:pt x="8562002" y="1534740"/>
                  </a:cubicBezTo>
                  <a:lnTo>
                    <a:pt x="8566998" y="1538213"/>
                  </a:lnTo>
                  <a:cubicBezTo>
                    <a:pt x="8552923" y="1558277"/>
                    <a:pt x="8538848" y="1578304"/>
                    <a:pt x="8524895" y="1598289"/>
                  </a:cubicBezTo>
                  <a:close/>
                  <a:moveTo>
                    <a:pt x="11484608" y="1515913"/>
                  </a:moveTo>
                  <a:cubicBezTo>
                    <a:pt x="11474799" y="1493430"/>
                    <a:pt x="11464989" y="1471068"/>
                    <a:pt x="11455180" y="1448890"/>
                  </a:cubicBezTo>
                  <a:lnTo>
                    <a:pt x="11460724" y="1446392"/>
                  </a:lnTo>
                  <a:cubicBezTo>
                    <a:pt x="11470595" y="1468491"/>
                    <a:pt x="11480404" y="1490828"/>
                    <a:pt x="11490153" y="1513414"/>
                  </a:cubicBezTo>
                  <a:close/>
                  <a:moveTo>
                    <a:pt x="8608734" y="1478136"/>
                  </a:moveTo>
                  <a:lnTo>
                    <a:pt x="8603738" y="1474663"/>
                  </a:lnTo>
                  <a:lnTo>
                    <a:pt x="8645414" y="1414526"/>
                  </a:lnTo>
                  <a:lnTo>
                    <a:pt x="8650472" y="1417999"/>
                  </a:lnTo>
                  <a:close/>
                  <a:moveTo>
                    <a:pt x="11425020" y="1382416"/>
                  </a:moveTo>
                  <a:cubicBezTo>
                    <a:pt x="11414661" y="1359872"/>
                    <a:pt x="11404243" y="1337633"/>
                    <a:pt x="11394128" y="1316186"/>
                  </a:cubicBezTo>
                  <a:lnTo>
                    <a:pt x="11399612" y="1313566"/>
                  </a:lnTo>
                  <a:cubicBezTo>
                    <a:pt x="11409787" y="1335013"/>
                    <a:pt x="11420206" y="1357313"/>
                    <a:pt x="11430564" y="1379857"/>
                  </a:cubicBezTo>
                  <a:close/>
                  <a:moveTo>
                    <a:pt x="8692147" y="1358044"/>
                  </a:moveTo>
                  <a:lnTo>
                    <a:pt x="8687150" y="1354571"/>
                  </a:lnTo>
                  <a:lnTo>
                    <a:pt x="8728888" y="1294495"/>
                  </a:lnTo>
                  <a:lnTo>
                    <a:pt x="8733884" y="1297968"/>
                  </a:lnTo>
                  <a:close/>
                  <a:moveTo>
                    <a:pt x="11362445" y="1250503"/>
                  </a:moveTo>
                  <a:cubicBezTo>
                    <a:pt x="11351782" y="1228630"/>
                    <a:pt x="11340876" y="1206573"/>
                    <a:pt x="11329969" y="1185004"/>
                  </a:cubicBezTo>
                  <a:lnTo>
                    <a:pt x="11335392" y="1182262"/>
                  </a:lnTo>
                  <a:cubicBezTo>
                    <a:pt x="11346299" y="1203892"/>
                    <a:pt x="11357266" y="1225949"/>
                    <a:pt x="11367929" y="1247823"/>
                  </a:cubicBezTo>
                  <a:close/>
                  <a:moveTo>
                    <a:pt x="8775681" y="1237891"/>
                  </a:moveTo>
                  <a:lnTo>
                    <a:pt x="8770685" y="1234418"/>
                  </a:lnTo>
                  <a:cubicBezTo>
                    <a:pt x="8784699" y="1214372"/>
                    <a:pt x="8798713" y="1194326"/>
                    <a:pt x="8812666" y="1174463"/>
                  </a:cubicBezTo>
                  <a:lnTo>
                    <a:pt x="8817601" y="1177936"/>
                  </a:lnTo>
                  <a:close/>
                  <a:moveTo>
                    <a:pt x="11296641" y="1119932"/>
                  </a:moveTo>
                  <a:cubicBezTo>
                    <a:pt x="11285308" y="1098241"/>
                    <a:pt x="11273792" y="1076550"/>
                    <a:pt x="11262398" y="1055407"/>
                  </a:cubicBezTo>
                  <a:lnTo>
                    <a:pt x="11267760" y="1052482"/>
                  </a:lnTo>
                  <a:cubicBezTo>
                    <a:pt x="11279154" y="1073686"/>
                    <a:pt x="11290731" y="1095438"/>
                    <a:pt x="11302003" y="1117129"/>
                  </a:cubicBezTo>
                  <a:close/>
                  <a:moveTo>
                    <a:pt x="8859459" y="1118104"/>
                  </a:moveTo>
                  <a:lnTo>
                    <a:pt x="8854524" y="1114570"/>
                  </a:lnTo>
                  <a:cubicBezTo>
                    <a:pt x="8868599" y="1094585"/>
                    <a:pt x="8882674" y="1074679"/>
                    <a:pt x="8896809" y="1054859"/>
                  </a:cubicBezTo>
                  <a:lnTo>
                    <a:pt x="8901806" y="1058393"/>
                  </a:lnTo>
                  <a:cubicBezTo>
                    <a:pt x="8887731" y="1078091"/>
                    <a:pt x="8873595" y="1097936"/>
                    <a:pt x="8859398" y="1117921"/>
                  </a:cubicBezTo>
                  <a:close/>
                  <a:moveTo>
                    <a:pt x="8944335" y="998865"/>
                  </a:moveTo>
                  <a:lnTo>
                    <a:pt x="8939399" y="995331"/>
                  </a:lnTo>
                  <a:cubicBezTo>
                    <a:pt x="8953717" y="975425"/>
                    <a:pt x="8967914" y="955647"/>
                    <a:pt x="8982050" y="935985"/>
                  </a:cubicBezTo>
                  <a:lnTo>
                    <a:pt x="8986985" y="939580"/>
                  </a:lnTo>
                  <a:cubicBezTo>
                    <a:pt x="8972667" y="959078"/>
                    <a:pt x="8958409" y="978776"/>
                    <a:pt x="8944274" y="998682"/>
                  </a:cubicBezTo>
                  <a:close/>
                  <a:moveTo>
                    <a:pt x="11226938" y="991370"/>
                  </a:moveTo>
                  <a:cubicBezTo>
                    <a:pt x="11214752" y="969984"/>
                    <a:pt x="11202566" y="948719"/>
                    <a:pt x="11190745" y="927881"/>
                  </a:cubicBezTo>
                  <a:lnTo>
                    <a:pt x="11196046" y="924835"/>
                  </a:lnTo>
                  <a:cubicBezTo>
                    <a:pt x="11208232" y="945612"/>
                    <a:pt x="11220418" y="966998"/>
                    <a:pt x="11232239" y="988385"/>
                  </a:cubicBezTo>
                  <a:close/>
                  <a:moveTo>
                    <a:pt x="9030306" y="880600"/>
                  </a:moveTo>
                  <a:lnTo>
                    <a:pt x="9025431" y="877005"/>
                  </a:lnTo>
                  <a:cubicBezTo>
                    <a:pt x="9039994" y="857222"/>
                    <a:pt x="9054556" y="837627"/>
                    <a:pt x="9069057" y="818208"/>
                  </a:cubicBezTo>
                  <a:lnTo>
                    <a:pt x="9073932" y="821864"/>
                  </a:lnTo>
                  <a:cubicBezTo>
                    <a:pt x="9059431" y="841075"/>
                    <a:pt x="9044868" y="860573"/>
                    <a:pt x="9030306" y="880356"/>
                  </a:cubicBezTo>
                  <a:close/>
                  <a:moveTo>
                    <a:pt x="11153517" y="865002"/>
                  </a:moveTo>
                  <a:cubicBezTo>
                    <a:pt x="11140783" y="843921"/>
                    <a:pt x="11127866" y="823022"/>
                    <a:pt x="11115192" y="802854"/>
                  </a:cubicBezTo>
                  <a:lnTo>
                    <a:pt x="11120311" y="799564"/>
                  </a:lnTo>
                  <a:cubicBezTo>
                    <a:pt x="11133045" y="819793"/>
                    <a:pt x="11145962" y="840752"/>
                    <a:pt x="11158757" y="861895"/>
                  </a:cubicBezTo>
                  <a:close/>
                  <a:moveTo>
                    <a:pt x="9117801" y="763250"/>
                  </a:moveTo>
                  <a:lnTo>
                    <a:pt x="9112926" y="759594"/>
                  </a:lnTo>
                  <a:cubicBezTo>
                    <a:pt x="9127854" y="740054"/>
                    <a:pt x="9142721" y="720721"/>
                    <a:pt x="9157649" y="701589"/>
                  </a:cubicBezTo>
                  <a:lnTo>
                    <a:pt x="9162462" y="705306"/>
                  </a:lnTo>
                  <a:cubicBezTo>
                    <a:pt x="9147778" y="724395"/>
                    <a:pt x="9132850" y="743710"/>
                    <a:pt x="9117801" y="763250"/>
                  </a:cubicBezTo>
                  <a:close/>
                  <a:moveTo>
                    <a:pt x="11075406" y="741132"/>
                  </a:moveTo>
                  <a:cubicBezTo>
                    <a:pt x="11061758" y="720477"/>
                    <a:pt x="11048049" y="700066"/>
                    <a:pt x="11034583" y="680568"/>
                  </a:cubicBezTo>
                  <a:lnTo>
                    <a:pt x="11039579" y="677096"/>
                  </a:lnTo>
                  <a:cubicBezTo>
                    <a:pt x="11053106" y="696654"/>
                    <a:pt x="11066815" y="717065"/>
                    <a:pt x="11080463" y="738025"/>
                  </a:cubicBezTo>
                  <a:close/>
                  <a:moveTo>
                    <a:pt x="9207733" y="647910"/>
                  </a:moveTo>
                  <a:lnTo>
                    <a:pt x="9203102" y="644072"/>
                  </a:lnTo>
                  <a:cubicBezTo>
                    <a:pt x="9218517" y="624757"/>
                    <a:pt x="9234054" y="605625"/>
                    <a:pt x="9249165" y="587164"/>
                  </a:cubicBezTo>
                  <a:lnTo>
                    <a:pt x="9253856" y="591063"/>
                  </a:lnTo>
                  <a:cubicBezTo>
                    <a:pt x="9238868" y="609464"/>
                    <a:pt x="9223391" y="628596"/>
                    <a:pt x="9207977" y="647910"/>
                  </a:cubicBezTo>
                  <a:close/>
                  <a:moveTo>
                    <a:pt x="10992420" y="620919"/>
                  </a:moveTo>
                  <a:cubicBezTo>
                    <a:pt x="10977980" y="601056"/>
                    <a:pt x="10963296" y="581314"/>
                    <a:pt x="10948794" y="562304"/>
                  </a:cubicBezTo>
                  <a:lnTo>
                    <a:pt x="10953608" y="558649"/>
                  </a:lnTo>
                  <a:cubicBezTo>
                    <a:pt x="10968169" y="577659"/>
                    <a:pt x="10982915" y="597400"/>
                    <a:pt x="10997355" y="617324"/>
                  </a:cubicBezTo>
                  <a:close/>
                  <a:moveTo>
                    <a:pt x="9300589" y="534886"/>
                  </a:moveTo>
                  <a:lnTo>
                    <a:pt x="9295959" y="530926"/>
                  </a:lnTo>
                  <a:cubicBezTo>
                    <a:pt x="9312105" y="511916"/>
                    <a:pt x="9328191" y="493271"/>
                    <a:pt x="9343788" y="475480"/>
                  </a:cubicBezTo>
                  <a:lnTo>
                    <a:pt x="9348358" y="479501"/>
                  </a:lnTo>
                  <a:cubicBezTo>
                    <a:pt x="9332943" y="497232"/>
                    <a:pt x="9316858" y="516120"/>
                    <a:pt x="9300589" y="534886"/>
                  </a:cubicBezTo>
                  <a:close/>
                  <a:moveTo>
                    <a:pt x="10903706" y="504909"/>
                  </a:moveTo>
                  <a:cubicBezTo>
                    <a:pt x="10888230" y="485838"/>
                    <a:pt x="10872449" y="466950"/>
                    <a:pt x="10856913" y="448914"/>
                  </a:cubicBezTo>
                  <a:lnTo>
                    <a:pt x="10861483" y="444954"/>
                  </a:lnTo>
                  <a:cubicBezTo>
                    <a:pt x="10877080" y="463233"/>
                    <a:pt x="10892922" y="481938"/>
                    <a:pt x="10908459" y="501070"/>
                  </a:cubicBezTo>
                  <a:close/>
                  <a:moveTo>
                    <a:pt x="9397163" y="425091"/>
                  </a:moveTo>
                  <a:lnTo>
                    <a:pt x="9392715" y="421009"/>
                  </a:lnTo>
                  <a:cubicBezTo>
                    <a:pt x="9409592" y="402730"/>
                    <a:pt x="9426470" y="384451"/>
                    <a:pt x="9442860" y="367573"/>
                  </a:cubicBezTo>
                  <a:lnTo>
                    <a:pt x="9447246" y="371839"/>
                  </a:lnTo>
                  <a:cubicBezTo>
                    <a:pt x="9431040" y="388777"/>
                    <a:pt x="9414223" y="406447"/>
                    <a:pt x="9397345" y="425091"/>
                  </a:cubicBezTo>
                  <a:close/>
                  <a:moveTo>
                    <a:pt x="10808290" y="394626"/>
                  </a:moveTo>
                  <a:cubicBezTo>
                    <a:pt x="10791596" y="376347"/>
                    <a:pt x="10774597" y="358800"/>
                    <a:pt x="10757780" y="341922"/>
                  </a:cubicBezTo>
                  <a:lnTo>
                    <a:pt x="10762106" y="337657"/>
                  </a:lnTo>
                  <a:cubicBezTo>
                    <a:pt x="10778984" y="354535"/>
                    <a:pt x="10795983" y="372326"/>
                    <a:pt x="10812739" y="390483"/>
                  </a:cubicBezTo>
                  <a:close/>
                  <a:moveTo>
                    <a:pt x="9498305" y="320109"/>
                  </a:moveTo>
                  <a:lnTo>
                    <a:pt x="9494041" y="315722"/>
                  </a:lnTo>
                  <a:cubicBezTo>
                    <a:pt x="9511893" y="298236"/>
                    <a:pt x="9529745" y="281297"/>
                    <a:pt x="9547171" y="265334"/>
                  </a:cubicBezTo>
                  <a:lnTo>
                    <a:pt x="9551315" y="269782"/>
                  </a:lnTo>
                  <a:cubicBezTo>
                    <a:pt x="9534376" y="285562"/>
                    <a:pt x="9516584" y="302501"/>
                    <a:pt x="9498793" y="319927"/>
                  </a:cubicBezTo>
                  <a:close/>
                  <a:moveTo>
                    <a:pt x="10704710" y="291351"/>
                  </a:moveTo>
                  <a:cubicBezTo>
                    <a:pt x="10686431" y="274595"/>
                    <a:pt x="10668152" y="258388"/>
                    <a:pt x="10649874" y="243155"/>
                  </a:cubicBezTo>
                  <a:lnTo>
                    <a:pt x="10653773" y="238464"/>
                  </a:lnTo>
                  <a:cubicBezTo>
                    <a:pt x="10672052" y="253757"/>
                    <a:pt x="10690331" y="270025"/>
                    <a:pt x="10708610" y="286842"/>
                  </a:cubicBezTo>
                  <a:close/>
                  <a:moveTo>
                    <a:pt x="9605785" y="221525"/>
                  </a:moveTo>
                  <a:lnTo>
                    <a:pt x="9601886" y="216895"/>
                  </a:lnTo>
                  <a:cubicBezTo>
                    <a:pt x="9621018" y="200748"/>
                    <a:pt x="9640150" y="185272"/>
                    <a:pt x="9658855" y="170954"/>
                  </a:cubicBezTo>
                  <a:lnTo>
                    <a:pt x="9662572" y="175767"/>
                  </a:lnTo>
                  <a:cubicBezTo>
                    <a:pt x="9644658" y="189842"/>
                    <a:pt x="9625587" y="205379"/>
                    <a:pt x="9606516" y="221343"/>
                  </a:cubicBezTo>
                  <a:close/>
                  <a:moveTo>
                    <a:pt x="10592844" y="197702"/>
                  </a:moveTo>
                  <a:cubicBezTo>
                    <a:pt x="10573225" y="182896"/>
                    <a:pt x="10553178" y="168760"/>
                    <a:pt x="10533437" y="155600"/>
                  </a:cubicBezTo>
                  <a:lnTo>
                    <a:pt x="10536789" y="150542"/>
                  </a:lnTo>
                  <a:cubicBezTo>
                    <a:pt x="10556652" y="163703"/>
                    <a:pt x="10576758" y="177961"/>
                    <a:pt x="10596499" y="192828"/>
                  </a:cubicBezTo>
                  <a:close/>
                  <a:moveTo>
                    <a:pt x="9721551" y="133178"/>
                  </a:moveTo>
                  <a:lnTo>
                    <a:pt x="9718140" y="128120"/>
                  </a:lnTo>
                  <a:cubicBezTo>
                    <a:pt x="9738977" y="114046"/>
                    <a:pt x="9759815" y="100946"/>
                    <a:pt x="9780165" y="89247"/>
                  </a:cubicBezTo>
                  <a:lnTo>
                    <a:pt x="9783212" y="94487"/>
                  </a:lnTo>
                  <a:cubicBezTo>
                    <a:pt x="9763654" y="106003"/>
                    <a:pt x="9743060" y="118981"/>
                    <a:pt x="9722343" y="132995"/>
                  </a:cubicBezTo>
                  <a:close/>
                  <a:moveTo>
                    <a:pt x="10471594" y="117336"/>
                  </a:moveTo>
                  <a:cubicBezTo>
                    <a:pt x="10450208" y="105150"/>
                    <a:pt x="10428517" y="93695"/>
                    <a:pt x="10407192" y="83520"/>
                  </a:cubicBezTo>
                  <a:lnTo>
                    <a:pt x="10409812" y="77975"/>
                  </a:lnTo>
                  <a:cubicBezTo>
                    <a:pt x="10431319" y="88272"/>
                    <a:pt x="10453133" y="99727"/>
                    <a:pt x="10474580" y="112035"/>
                  </a:cubicBezTo>
                  <a:close/>
                  <a:moveTo>
                    <a:pt x="9847554" y="60915"/>
                  </a:moveTo>
                  <a:lnTo>
                    <a:pt x="9844995" y="55431"/>
                  </a:lnTo>
                  <a:cubicBezTo>
                    <a:pt x="9867051" y="45104"/>
                    <a:pt x="9889656" y="35971"/>
                    <a:pt x="9912687" y="28074"/>
                  </a:cubicBezTo>
                  <a:lnTo>
                    <a:pt x="9914637" y="33862"/>
                  </a:lnTo>
                  <a:cubicBezTo>
                    <a:pt x="9892093" y="41649"/>
                    <a:pt x="9869976" y="50618"/>
                    <a:pt x="9848346" y="60732"/>
                  </a:cubicBezTo>
                  <a:close/>
                  <a:moveTo>
                    <a:pt x="10340352" y="54822"/>
                  </a:moveTo>
                  <a:cubicBezTo>
                    <a:pt x="10317503" y="46170"/>
                    <a:pt x="10294289" y="38493"/>
                    <a:pt x="10271379" y="32156"/>
                  </a:cubicBezTo>
                  <a:lnTo>
                    <a:pt x="10273025" y="26063"/>
                  </a:lnTo>
                  <a:cubicBezTo>
                    <a:pt x="10296117" y="32522"/>
                    <a:pt x="10319514" y="40199"/>
                    <a:pt x="10342545" y="48912"/>
                  </a:cubicBezTo>
                  <a:close/>
                  <a:moveTo>
                    <a:pt x="10200640" y="16071"/>
                  </a:moveTo>
                  <a:cubicBezTo>
                    <a:pt x="10176817" y="11897"/>
                    <a:pt x="10152811" y="8948"/>
                    <a:pt x="10128683" y="7236"/>
                  </a:cubicBezTo>
                  <a:lnTo>
                    <a:pt x="10129109" y="1143"/>
                  </a:lnTo>
                  <a:cubicBezTo>
                    <a:pt x="10153420" y="2874"/>
                    <a:pt x="10177670" y="5847"/>
                    <a:pt x="10201676" y="10039"/>
                  </a:cubicBezTo>
                  <a:close/>
                  <a:moveTo>
                    <a:pt x="9984340" y="14913"/>
                  </a:moveTo>
                  <a:lnTo>
                    <a:pt x="9983122" y="8820"/>
                  </a:lnTo>
                  <a:cubicBezTo>
                    <a:pt x="10007128" y="3995"/>
                    <a:pt x="10031439" y="979"/>
                    <a:pt x="10055872" y="-197"/>
                  </a:cubicBezTo>
                  <a:lnTo>
                    <a:pt x="10055872" y="5896"/>
                  </a:lnTo>
                  <a:cubicBezTo>
                    <a:pt x="10032110" y="7108"/>
                    <a:pt x="10008469" y="10082"/>
                    <a:pt x="9985133" y="14791"/>
                  </a:cubicBezTo>
                  <a:close/>
                </a:path>
              </a:pathLst>
            </a:custGeom>
            <a:solidFill>
              <a:schemeClr val="bg1"/>
            </a:solidFill>
            <a:ln w="6093"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D1CACF02-5950-845C-3D27-EE9E7603AB38}"/>
                </a:ext>
              </a:extLst>
            </p:cNvPr>
            <p:cNvSpPr/>
            <p:nvPr/>
          </p:nvSpPr>
          <p:spPr>
            <a:xfrm>
              <a:off x="487" y="2694311"/>
              <a:ext cx="12156173" cy="2097925"/>
            </a:xfrm>
            <a:custGeom>
              <a:avLst/>
              <a:gdLst>
                <a:gd name="connsiteX0" fmla="*/ 4509 w 12156173"/>
                <a:gd name="connsiteY0" fmla="*/ 2097729 h 2097925"/>
                <a:gd name="connsiteX1" fmla="*/ 0 w 12156173"/>
                <a:gd name="connsiteY1" fmla="*/ 2093647 h 2097925"/>
                <a:gd name="connsiteX2" fmla="*/ 50694 w 12156173"/>
                <a:gd name="connsiteY2" fmla="*/ 2039968 h 2097925"/>
                <a:gd name="connsiteX3" fmla="*/ 55081 w 12156173"/>
                <a:gd name="connsiteY3" fmla="*/ 2044172 h 2097925"/>
                <a:gd name="connsiteX4" fmla="*/ 4509 w 12156173"/>
                <a:gd name="connsiteY4" fmla="*/ 2097729 h 2097925"/>
                <a:gd name="connsiteX5" fmla="*/ 106627 w 12156173"/>
                <a:gd name="connsiteY5" fmla="*/ 1992016 h 2097925"/>
                <a:gd name="connsiteX6" fmla="*/ 102362 w 12156173"/>
                <a:gd name="connsiteY6" fmla="*/ 1987690 h 2097925"/>
                <a:gd name="connsiteX7" fmla="*/ 154761 w 12156173"/>
                <a:gd name="connsiteY7" fmla="*/ 1936326 h 2097925"/>
                <a:gd name="connsiteX8" fmla="*/ 158966 w 12156173"/>
                <a:gd name="connsiteY8" fmla="*/ 1940652 h 2097925"/>
                <a:gd name="connsiteX9" fmla="*/ 106627 w 12156173"/>
                <a:gd name="connsiteY9" fmla="*/ 1991833 h 2097925"/>
                <a:gd name="connsiteX10" fmla="*/ 212035 w 12156173"/>
                <a:gd name="connsiteY10" fmla="*/ 1890142 h 2097925"/>
                <a:gd name="connsiteX11" fmla="*/ 207892 w 12156173"/>
                <a:gd name="connsiteY11" fmla="*/ 1885755 h 2097925"/>
                <a:gd name="connsiteX12" fmla="*/ 261693 w 12156173"/>
                <a:gd name="connsiteY12" fmla="*/ 1835915 h 2097925"/>
                <a:gd name="connsiteX13" fmla="*/ 265775 w 12156173"/>
                <a:gd name="connsiteY13" fmla="*/ 1840423 h 2097925"/>
                <a:gd name="connsiteX14" fmla="*/ 212035 w 12156173"/>
                <a:gd name="connsiteY14" fmla="*/ 1889959 h 2097925"/>
                <a:gd name="connsiteX15" fmla="*/ 320185 w 12156173"/>
                <a:gd name="connsiteY15" fmla="*/ 1791375 h 2097925"/>
                <a:gd name="connsiteX16" fmla="*/ 316103 w 12156173"/>
                <a:gd name="connsiteY16" fmla="*/ 1786805 h 2097925"/>
                <a:gd name="connsiteX17" fmla="*/ 370939 w 12156173"/>
                <a:gd name="connsiteY17" fmla="*/ 1738488 h 2097925"/>
                <a:gd name="connsiteX18" fmla="*/ 374900 w 12156173"/>
                <a:gd name="connsiteY18" fmla="*/ 1743058 h 2097925"/>
                <a:gd name="connsiteX19" fmla="*/ 320185 w 12156173"/>
                <a:gd name="connsiteY19" fmla="*/ 1791192 h 2097925"/>
                <a:gd name="connsiteX20" fmla="*/ 430772 w 12156173"/>
                <a:gd name="connsiteY20" fmla="*/ 1695594 h 2097925"/>
                <a:gd name="connsiteX21" fmla="*/ 426873 w 12156173"/>
                <a:gd name="connsiteY21" fmla="*/ 1690902 h 2097925"/>
                <a:gd name="connsiteX22" fmla="*/ 483172 w 12156173"/>
                <a:gd name="connsiteY22" fmla="*/ 1644047 h 2097925"/>
                <a:gd name="connsiteX23" fmla="*/ 487010 w 12156173"/>
                <a:gd name="connsiteY23" fmla="*/ 1648739 h 2097925"/>
                <a:gd name="connsiteX24" fmla="*/ 430772 w 12156173"/>
                <a:gd name="connsiteY24" fmla="*/ 1695594 h 2097925"/>
                <a:gd name="connsiteX25" fmla="*/ 543858 w 12156173"/>
                <a:gd name="connsiteY25" fmla="*/ 1602676 h 2097925"/>
                <a:gd name="connsiteX26" fmla="*/ 540080 w 12156173"/>
                <a:gd name="connsiteY26" fmla="*/ 1597924 h 2097925"/>
                <a:gd name="connsiteX27" fmla="*/ 597597 w 12156173"/>
                <a:gd name="connsiteY27" fmla="*/ 1552592 h 2097925"/>
                <a:gd name="connsiteX28" fmla="*/ 601314 w 12156173"/>
                <a:gd name="connsiteY28" fmla="*/ 1557345 h 2097925"/>
                <a:gd name="connsiteX29" fmla="*/ 543858 w 12156173"/>
                <a:gd name="connsiteY29" fmla="*/ 1602433 h 2097925"/>
                <a:gd name="connsiteX30" fmla="*/ 659624 w 12156173"/>
                <a:gd name="connsiteY30" fmla="*/ 1512866 h 2097925"/>
                <a:gd name="connsiteX31" fmla="*/ 655907 w 12156173"/>
                <a:gd name="connsiteY31" fmla="*/ 1507992 h 2097925"/>
                <a:gd name="connsiteX32" fmla="*/ 714643 w 12156173"/>
                <a:gd name="connsiteY32" fmla="*/ 1464244 h 2097925"/>
                <a:gd name="connsiteX33" fmla="*/ 718299 w 12156173"/>
                <a:gd name="connsiteY33" fmla="*/ 1469180 h 2097925"/>
                <a:gd name="connsiteX34" fmla="*/ 659380 w 12156173"/>
                <a:gd name="connsiteY34" fmla="*/ 1512805 h 2097925"/>
                <a:gd name="connsiteX35" fmla="*/ 11629621 w 12156173"/>
                <a:gd name="connsiteY35" fmla="*/ 1446392 h 2097925"/>
                <a:gd name="connsiteX36" fmla="*/ 11560283 w 12156173"/>
                <a:gd name="connsiteY36" fmla="*/ 1442736 h 2097925"/>
                <a:gd name="connsiteX37" fmla="*/ 11560954 w 12156173"/>
                <a:gd name="connsiteY37" fmla="*/ 1436643 h 2097925"/>
                <a:gd name="connsiteX38" fmla="*/ 11629621 w 12156173"/>
                <a:gd name="connsiteY38" fmla="*/ 1440238 h 2097925"/>
                <a:gd name="connsiteX39" fmla="*/ 11633459 w 12156173"/>
                <a:gd name="connsiteY39" fmla="*/ 1440238 h 2097925"/>
                <a:gd name="connsiteX40" fmla="*/ 11633459 w 12156173"/>
                <a:gd name="connsiteY40" fmla="*/ 1446331 h 2097925"/>
                <a:gd name="connsiteX41" fmla="*/ 11629560 w 12156173"/>
                <a:gd name="connsiteY41" fmla="*/ 1446331 h 2097925"/>
                <a:gd name="connsiteX42" fmla="*/ 11706758 w 12156173"/>
                <a:gd name="connsiteY42" fmla="*/ 1441335 h 2097925"/>
                <a:gd name="connsiteX43" fmla="*/ 11705904 w 12156173"/>
                <a:gd name="connsiteY43" fmla="*/ 1435242 h 2097925"/>
                <a:gd name="connsiteX44" fmla="*/ 11777070 w 12156173"/>
                <a:gd name="connsiteY44" fmla="*/ 1420741 h 2097925"/>
                <a:gd name="connsiteX45" fmla="*/ 11778655 w 12156173"/>
                <a:gd name="connsiteY45" fmla="*/ 1426834 h 2097925"/>
                <a:gd name="connsiteX46" fmla="*/ 11706819 w 12156173"/>
                <a:gd name="connsiteY46" fmla="*/ 1441335 h 2097925"/>
                <a:gd name="connsiteX47" fmla="*/ 11487838 w 12156173"/>
                <a:gd name="connsiteY47" fmla="*/ 1432013 h 2097925"/>
                <a:gd name="connsiteX48" fmla="*/ 11416428 w 12156173"/>
                <a:gd name="connsiteY48" fmla="*/ 1415866 h 2097925"/>
                <a:gd name="connsiteX49" fmla="*/ 11417951 w 12156173"/>
                <a:gd name="connsiteY49" fmla="*/ 1409773 h 2097925"/>
                <a:gd name="connsiteX50" fmla="*/ 11488995 w 12156173"/>
                <a:gd name="connsiteY50" fmla="*/ 1425859 h 2097925"/>
                <a:gd name="connsiteX51" fmla="*/ 777339 w 12156173"/>
                <a:gd name="connsiteY51" fmla="*/ 1425920 h 2097925"/>
                <a:gd name="connsiteX52" fmla="*/ 773806 w 12156173"/>
                <a:gd name="connsiteY52" fmla="*/ 1420923 h 2097925"/>
                <a:gd name="connsiteX53" fmla="*/ 833760 w 12156173"/>
                <a:gd name="connsiteY53" fmla="*/ 1378943 h 2097925"/>
                <a:gd name="connsiteX54" fmla="*/ 837233 w 12156173"/>
                <a:gd name="connsiteY54" fmla="*/ 1383939 h 2097925"/>
                <a:gd name="connsiteX55" fmla="*/ 777339 w 12156173"/>
                <a:gd name="connsiteY55" fmla="*/ 1426103 h 2097925"/>
                <a:gd name="connsiteX56" fmla="*/ 11848236 w 12156173"/>
                <a:gd name="connsiteY56" fmla="*/ 1402401 h 2097925"/>
                <a:gd name="connsiteX57" fmla="*/ 11845920 w 12156173"/>
                <a:gd name="connsiteY57" fmla="*/ 1396795 h 2097925"/>
                <a:gd name="connsiteX58" fmla="*/ 11911481 w 12156173"/>
                <a:gd name="connsiteY58" fmla="*/ 1365234 h 2097925"/>
                <a:gd name="connsiteX59" fmla="*/ 11914345 w 12156173"/>
                <a:gd name="connsiteY59" fmla="*/ 1370595 h 2097925"/>
                <a:gd name="connsiteX60" fmla="*/ 11847993 w 12156173"/>
                <a:gd name="connsiteY60" fmla="*/ 1402583 h 2097925"/>
                <a:gd name="connsiteX61" fmla="*/ 11346359 w 12156173"/>
                <a:gd name="connsiteY61" fmla="*/ 1395272 h 2097925"/>
                <a:gd name="connsiteX62" fmla="*/ 11277143 w 12156173"/>
                <a:gd name="connsiteY62" fmla="*/ 1371693 h 2097925"/>
                <a:gd name="connsiteX63" fmla="*/ 11279215 w 12156173"/>
                <a:gd name="connsiteY63" fmla="*/ 1365965 h 2097925"/>
                <a:gd name="connsiteX64" fmla="*/ 11348248 w 12156173"/>
                <a:gd name="connsiteY64" fmla="*/ 1389484 h 2097925"/>
                <a:gd name="connsiteX65" fmla="*/ 11208781 w 12156173"/>
                <a:gd name="connsiteY65" fmla="*/ 1345553 h 2097925"/>
                <a:gd name="connsiteX66" fmla="*/ 11141271 w 12156173"/>
                <a:gd name="connsiteY66" fmla="*/ 1317465 h 2097925"/>
                <a:gd name="connsiteX67" fmla="*/ 11143708 w 12156173"/>
                <a:gd name="connsiteY67" fmla="*/ 1311860 h 2097925"/>
                <a:gd name="connsiteX68" fmla="*/ 11211096 w 12156173"/>
                <a:gd name="connsiteY68" fmla="*/ 1339887 h 2097925"/>
                <a:gd name="connsiteX69" fmla="*/ 897919 w 12156173"/>
                <a:gd name="connsiteY69" fmla="*/ 1343056 h 2097925"/>
                <a:gd name="connsiteX70" fmla="*/ 894568 w 12156173"/>
                <a:gd name="connsiteY70" fmla="*/ 1337998 h 2097925"/>
                <a:gd name="connsiteX71" fmla="*/ 955802 w 12156173"/>
                <a:gd name="connsiteY71" fmla="*/ 1297846 h 2097925"/>
                <a:gd name="connsiteX72" fmla="*/ 959092 w 12156173"/>
                <a:gd name="connsiteY72" fmla="*/ 1302964 h 2097925"/>
                <a:gd name="connsiteX73" fmla="*/ 897919 w 12156173"/>
                <a:gd name="connsiteY73" fmla="*/ 1343056 h 2097925"/>
                <a:gd name="connsiteX74" fmla="*/ 11977346 w 12156173"/>
                <a:gd name="connsiteY74" fmla="*/ 1333490 h 2097925"/>
                <a:gd name="connsiteX75" fmla="*/ 11974116 w 12156173"/>
                <a:gd name="connsiteY75" fmla="*/ 1328310 h 2097925"/>
                <a:gd name="connsiteX76" fmla="*/ 12034620 w 12156173"/>
                <a:gd name="connsiteY76" fmla="*/ 1287609 h 2097925"/>
                <a:gd name="connsiteX77" fmla="*/ 12038153 w 12156173"/>
                <a:gd name="connsiteY77" fmla="*/ 1292606 h 2097925"/>
                <a:gd name="connsiteX78" fmla="*/ 11977163 w 12156173"/>
                <a:gd name="connsiteY78" fmla="*/ 1333490 h 2097925"/>
                <a:gd name="connsiteX79" fmla="*/ 11074370 w 12156173"/>
                <a:gd name="connsiteY79" fmla="*/ 1287975 h 2097925"/>
                <a:gd name="connsiteX80" fmla="*/ 11008139 w 12156173"/>
                <a:gd name="connsiteY80" fmla="*/ 1257023 h 2097925"/>
                <a:gd name="connsiteX81" fmla="*/ 11010760 w 12156173"/>
                <a:gd name="connsiteY81" fmla="*/ 1251539 h 2097925"/>
                <a:gd name="connsiteX82" fmla="*/ 11076929 w 12156173"/>
                <a:gd name="connsiteY82" fmla="*/ 1282431 h 2097925"/>
                <a:gd name="connsiteX83" fmla="*/ 1020997 w 12156173"/>
                <a:gd name="connsiteY83" fmla="*/ 1263603 h 2097925"/>
                <a:gd name="connsiteX84" fmla="*/ 1017767 w 12156173"/>
                <a:gd name="connsiteY84" fmla="*/ 1258424 h 2097925"/>
                <a:gd name="connsiteX85" fmla="*/ 1080281 w 12156173"/>
                <a:gd name="connsiteY85" fmla="*/ 1220282 h 2097925"/>
                <a:gd name="connsiteX86" fmla="*/ 1083449 w 12156173"/>
                <a:gd name="connsiteY86" fmla="*/ 1225522 h 2097925"/>
                <a:gd name="connsiteX87" fmla="*/ 1020692 w 12156173"/>
                <a:gd name="connsiteY87" fmla="*/ 1263908 h 2097925"/>
                <a:gd name="connsiteX88" fmla="*/ 12097560 w 12156173"/>
                <a:gd name="connsiteY88" fmla="*/ 1249468 h 2097925"/>
                <a:gd name="connsiteX89" fmla="*/ 12093965 w 12156173"/>
                <a:gd name="connsiteY89" fmla="*/ 1244593 h 2097925"/>
                <a:gd name="connsiteX90" fmla="*/ 12152518 w 12156173"/>
                <a:gd name="connsiteY90" fmla="*/ 1200907 h 2097925"/>
                <a:gd name="connsiteX91" fmla="*/ 12156174 w 12156173"/>
                <a:gd name="connsiteY91" fmla="*/ 1205781 h 2097925"/>
                <a:gd name="connsiteX92" fmla="*/ 12097255 w 12156173"/>
                <a:gd name="connsiteY92" fmla="*/ 1249772 h 2097925"/>
                <a:gd name="connsiteX93" fmla="*/ 10942519 w 12156173"/>
                <a:gd name="connsiteY93" fmla="*/ 1224730 h 2097925"/>
                <a:gd name="connsiteX94" fmla="*/ 10877263 w 12156173"/>
                <a:gd name="connsiteY94" fmla="*/ 1191828 h 2097925"/>
                <a:gd name="connsiteX95" fmla="*/ 10880005 w 12156173"/>
                <a:gd name="connsiteY95" fmla="*/ 1186345 h 2097925"/>
                <a:gd name="connsiteX96" fmla="*/ 10945260 w 12156173"/>
                <a:gd name="connsiteY96" fmla="*/ 1219247 h 2097925"/>
                <a:gd name="connsiteX97" fmla="*/ 1146207 w 12156173"/>
                <a:gd name="connsiteY97" fmla="*/ 1188843 h 2097925"/>
                <a:gd name="connsiteX98" fmla="*/ 1143160 w 12156173"/>
                <a:gd name="connsiteY98" fmla="*/ 1183603 h 2097925"/>
                <a:gd name="connsiteX99" fmla="*/ 1207015 w 12156173"/>
                <a:gd name="connsiteY99" fmla="*/ 1147715 h 2097925"/>
                <a:gd name="connsiteX100" fmla="*/ 1209939 w 12156173"/>
                <a:gd name="connsiteY100" fmla="*/ 1153077 h 2097925"/>
                <a:gd name="connsiteX101" fmla="*/ 1146207 w 12156173"/>
                <a:gd name="connsiteY101" fmla="*/ 1188843 h 2097925"/>
                <a:gd name="connsiteX102" fmla="*/ 10812068 w 12156173"/>
                <a:gd name="connsiteY102" fmla="*/ 1158378 h 2097925"/>
                <a:gd name="connsiteX103" fmla="*/ 10747483 w 12156173"/>
                <a:gd name="connsiteY103" fmla="*/ 1124075 h 2097925"/>
                <a:gd name="connsiteX104" fmla="*/ 10750347 w 12156173"/>
                <a:gd name="connsiteY104" fmla="*/ 1118713 h 2097925"/>
                <a:gd name="connsiteX105" fmla="*/ 10814871 w 12156173"/>
                <a:gd name="connsiteY105" fmla="*/ 1153016 h 2097925"/>
                <a:gd name="connsiteX106" fmla="*/ 4881736 w 12156173"/>
                <a:gd name="connsiteY106" fmla="*/ 1138881 h 2097925"/>
                <a:gd name="connsiteX107" fmla="*/ 4843107 w 12156173"/>
                <a:gd name="connsiteY107" fmla="*/ 1138881 h 2097925"/>
                <a:gd name="connsiteX108" fmla="*/ 4843107 w 12156173"/>
                <a:gd name="connsiteY108" fmla="*/ 1132788 h 2097925"/>
                <a:gd name="connsiteX109" fmla="*/ 4881675 w 12156173"/>
                <a:gd name="connsiteY109" fmla="*/ 1132788 h 2097925"/>
                <a:gd name="connsiteX110" fmla="*/ 4916283 w 12156173"/>
                <a:gd name="connsiteY110" fmla="*/ 1132788 h 2097925"/>
                <a:gd name="connsiteX111" fmla="*/ 4916283 w 12156173"/>
                <a:gd name="connsiteY111" fmla="*/ 1138881 h 2097925"/>
                <a:gd name="connsiteX112" fmla="*/ 4989642 w 12156173"/>
                <a:gd name="connsiteY112" fmla="*/ 1137723 h 2097925"/>
                <a:gd name="connsiteX113" fmla="*/ 4989642 w 12156173"/>
                <a:gd name="connsiteY113" fmla="*/ 1131630 h 2097925"/>
                <a:gd name="connsiteX114" fmla="*/ 5062758 w 12156173"/>
                <a:gd name="connsiteY114" fmla="*/ 1129437 h 2097925"/>
                <a:gd name="connsiteX115" fmla="*/ 5062758 w 12156173"/>
                <a:gd name="connsiteY115" fmla="*/ 1135530 h 2097925"/>
                <a:gd name="connsiteX116" fmla="*/ 4989642 w 12156173"/>
                <a:gd name="connsiteY116" fmla="*/ 1137784 h 2097925"/>
                <a:gd name="connsiteX117" fmla="*/ 4769869 w 12156173"/>
                <a:gd name="connsiteY117" fmla="*/ 1137723 h 2097925"/>
                <a:gd name="connsiteX118" fmla="*/ 4696754 w 12156173"/>
                <a:gd name="connsiteY118" fmla="*/ 1135651 h 2097925"/>
                <a:gd name="connsiteX119" fmla="*/ 4696754 w 12156173"/>
                <a:gd name="connsiteY119" fmla="*/ 1129558 h 2097925"/>
                <a:gd name="connsiteX120" fmla="*/ 4769869 w 12156173"/>
                <a:gd name="connsiteY120" fmla="*/ 1131630 h 2097925"/>
                <a:gd name="connsiteX121" fmla="*/ 4623638 w 12156173"/>
                <a:gd name="connsiteY121" fmla="*/ 1132605 h 2097925"/>
                <a:gd name="connsiteX122" fmla="*/ 4550523 w 12156173"/>
                <a:gd name="connsiteY122" fmla="*/ 1128644 h 2097925"/>
                <a:gd name="connsiteX123" fmla="*/ 4550888 w 12156173"/>
                <a:gd name="connsiteY123" fmla="*/ 1122552 h 2097925"/>
                <a:gd name="connsiteX124" fmla="*/ 4624004 w 12156173"/>
                <a:gd name="connsiteY124" fmla="*/ 1126512 h 2097925"/>
                <a:gd name="connsiteX125" fmla="*/ 5135995 w 12156173"/>
                <a:gd name="connsiteY125" fmla="*/ 1132239 h 2097925"/>
                <a:gd name="connsiteX126" fmla="*/ 5135690 w 12156173"/>
                <a:gd name="connsiteY126" fmla="*/ 1126146 h 2097925"/>
                <a:gd name="connsiteX127" fmla="*/ 5208806 w 12156173"/>
                <a:gd name="connsiteY127" fmla="*/ 1121576 h 2097925"/>
                <a:gd name="connsiteX128" fmla="*/ 5209232 w 12156173"/>
                <a:gd name="connsiteY128" fmla="*/ 1127669 h 2097925"/>
                <a:gd name="connsiteX129" fmla="*/ 5135995 w 12156173"/>
                <a:gd name="connsiteY129" fmla="*/ 1132239 h 2097925"/>
                <a:gd name="connsiteX130" fmla="*/ 4477590 w 12156173"/>
                <a:gd name="connsiteY130" fmla="*/ 1123831 h 2097925"/>
                <a:gd name="connsiteX131" fmla="*/ 4404475 w 12156173"/>
                <a:gd name="connsiteY131" fmla="*/ 1118164 h 2097925"/>
                <a:gd name="connsiteX132" fmla="*/ 4405023 w 12156173"/>
                <a:gd name="connsiteY132" fmla="*/ 1112071 h 2097925"/>
                <a:gd name="connsiteX133" fmla="*/ 4478139 w 12156173"/>
                <a:gd name="connsiteY133" fmla="*/ 1117738 h 2097925"/>
                <a:gd name="connsiteX134" fmla="*/ 5281860 w 12156173"/>
                <a:gd name="connsiteY134" fmla="*/ 1121820 h 2097925"/>
                <a:gd name="connsiteX135" fmla="*/ 5281312 w 12156173"/>
                <a:gd name="connsiteY135" fmla="*/ 1115727 h 2097925"/>
                <a:gd name="connsiteX136" fmla="*/ 5354062 w 12156173"/>
                <a:gd name="connsiteY136" fmla="*/ 1108659 h 2097925"/>
                <a:gd name="connsiteX137" fmla="*/ 5354732 w 12156173"/>
                <a:gd name="connsiteY137" fmla="*/ 1114752 h 2097925"/>
                <a:gd name="connsiteX138" fmla="*/ 5282165 w 12156173"/>
                <a:gd name="connsiteY138" fmla="*/ 1121820 h 2097925"/>
                <a:gd name="connsiteX139" fmla="*/ 1274037 w 12156173"/>
                <a:gd name="connsiteY139" fmla="*/ 1118469 h 2097925"/>
                <a:gd name="connsiteX140" fmla="*/ 1271234 w 12156173"/>
                <a:gd name="connsiteY140" fmla="*/ 1113047 h 2097925"/>
                <a:gd name="connsiteX141" fmla="*/ 1336368 w 12156173"/>
                <a:gd name="connsiteY141" fmla="*/ 1079718 h 2097925"/>
                <a:gd name="connsiteX142" fmla="*/ 1339110 w 12156173"/>
                <a:gd name="connsiteY142" fmla="*/ 1085141 h 2097925"/>
                <a:gd name="connsiteX143" fmla="*/ 1274342 w 12156173"/>
                <a:gd name="connsiteY143" fmla="*/ 1118469 h 2097925"/>
                <a:gd name="connsiteX144" fmla="*/ 4331482 w 12156173"/>
                <a:gd name="connsiteY144" fmla="*/ 1111645 h 2097925"/>
                <a:gd name="connsiteX145" fmla="*/ 4258732 w 12156173"/>
                <a:gd name="connsiteY145" fmla="*/ 1104394 h 2097925"/>
                <a:gd name="connsiteX146" fmla="*/ 4259341 w 12156173"/>
                <a:gd name="connsiteY146" fmla="*/ 1098301 h 2097925"/>
                <a:gd name="connsiteX147" fmla="*/ 4332091 w 12156173"/>
                <a:gd name="connsiteY147" fmla="*/ 1105552 h 2097925"/>
                <a:gd name="connsiteX148" fmla="*/ 5427482 w 12156173"/>
                <a:gd name="connsiteY148" fmla="*/ 1106222 h 2097925"/>
                <a:gd name="connsiteX149" fmla="*/ 5426751 w 12156173"/>
                <a:gd name="connsiteY149" fmla="*/ 1100130 h 2097925"/>
                <a:gd name="connsiteX150" fmla="*/ 5499196 w 12156173"/>
                <a:gd name="connsiteY150" fmla="*/ 1090320 h 2097925"/>
                <a:gd name="connsiteX151" fmla="*/ 5500049 w 12156173"/>
                <a:gd name="connsiteY151" fmla="*/ 1096413 h 2097925"/>
                <a:gd name="connsiteX152" fmla="*/ 5427787 w 12156173"/>
                <a:gd name="connsiteY152" fmla="*/ 1106222 h 2097925"/>
                <a:gd name="connsiteX153" fmla="*/ 4186042 w 12156173"/>
                <a:gd name="connsiteY153" fmla="*/ 1096352 h 2097925"/>
                <a:gd name="connsiteX154" fmla="*/ 4113414 w 12156173"/>
                <a:gd name="connsiteY154" fmla="*/ 1087639 h 2097925"/>
                <a:gd name="connsiteX155" fmla="*/ 4114145 w 12156173"/>
                <a:gd name="connsiteY155" fmla="*/ 1081546 h 2097925"/>
                <a:gd name="connsiteX156" fmla="*/ 4186713 w 12156173"/>
                <a:gd name="connsiteY156" fmla="*/ 1090259 h 2097925"/>
                <a:gd name="connsiteX157" fmla="*/ 10683202 w 12156173"/>
                <a:gd name="connsiteY157" fmla="*/ 1089345 h 2097925"/>
                <a:gd name="connsiteX158" fmla="*/ 10619165 w 12156173"/>
                <a:gd name="connsiteY158" fmla="*/ 1054067 h 2097925"/>
                <a:gd name="connsiteX159" fmla="*/ 10622151 w 12156173"/>
                <a:gd name="connsiteY159" fmla="*/ 1048705 h 2097925"/>
                <a:gd name="connsiteX160" fmla="*/ 10686127 w 12156173"/>
                <a:gd name="connsiteY160" fmla="*/ 1083983 h 2097925"/>
                <a:gd name="connsiteX161" fmla="*/ 5572738 w 12156173"/>
                <a:gd name="connsiteY161" fmla="*/ 1085141 h 2097925"/>
                <a:gd name="connsiteX162" fmla="*/ 5571702 w 12156173"/>
                <a:gd name="connsiteY162" fmla="*/ 1079048 h 2097925"/>
                <a:gd name="connsiteX163" fmla="*/ 5643721 w 12156173"/>
                <a:gd name="connsiteY163" fmla="*/ 1066313 h 2097925"/>
                <a:gd name="connsiteX164" fmla="*/ 5644818 w 12156173"/>
                <a:gd name="connsiteY164" fmla="*/ 1072406 h 2097925"/>
                <a:gd name="connsiteX165" fmla="*/ 5572738 w 12156173"/>
                <a:gd name="connsiteY165" fmla="*/ 1085141 h 2097925"/>
                <a:gd name="connsiteX166" fmla="*/ 4041152 w 12156173"/>
                <a:gd name="connsiteY166" fmla="*/ 1078256 h 2097925"/>
                <a:gd name="connsiteX167" fmla="*/ 3968768 w 12156173"/>
                <a:gd name="connsiteY167" fmla="*/ 1068020 h 2097925"/>
                <a:gd name="connsiteX168" fmla="*/ 3969621 w 12156173"/>
                <a:gd name="connsiteY168" fmla="*/ 1061927 h 2097925"/>
                <a:gd name="connsiteX169" fmla="*/ 4042005 w 12156173"/>
                <a:gd name="connsiteY169" fmla="*/ 1071980 h 2097925"/>
                <a:gd name="connsiteX170" fmla="*/ 5716714 w 12156173"/>
                <a:gd name="connsiteY170" fmla="*/ 1058271 h 2097925"/>
                <a:gd name="connsiteX171" fmla="*/ 5715496 w 12156173"/>
                <a:gd name="connsiteY171" fmla="*/ 1052178 h 2097925"/>
                <a:gd name="connsiteX172" fmla="*/ 5786844 w 12156173"/>
                <a:gd name="connsiteY172" fmla="*/ 1036458 h 2097925"/>
                <a:gd name="connsiteX173" fmla="*/ 5788246 w 12156173"/>
                <a:gd name="connsiteY173" fmla="*/ 1042551 h 2097925"/>
                <a:gd name="connsiteX174" fmla="*/ 5716653 w 12156173"/>
                <a:gd name="connsiteY174" fmla="*/ 1058271 h 2097925"/>
                <a:gd name="connsiteX175" fmla="*/ 3896383 w 12156173"/>
                <a:gd name="connsiteY175" fmla="*/ 1057540 h 2097925"/>
                <a:gd name="connsiteX176" fmla="*/ 3824121 w 12156173"/>
                <a:gd name="connsiteY176" fmla="*/ 1046268 h 2097925"/>
                <a:gd name="connsiteX177" fmla="*/ 3825096 w 12156173"/>
                <a:gd name="connsiteY177" fmla="*/ 1040175 h 2097925"/>
                <a:gd name="connsiteX178" fmla="*/ 3897297 w 12156173"/>
                <a:gd name="connsiteY178" fmla="*/ 1051447 h 2097925"/>
                <a:gd name="connsiteX179" fmla="*/ 1405218 w 12156173"/>
                <a:gd name="connsiteY179" fmla="*/ 1053153 h 2097925"/>
                <a:gd name="connsiteX180" fmla="*/ 1402598 w 12156173"/>
                <a:gd name="connsiteY180" fmla="*/ 1047669 h 2097925"/>
                <a:gd name="connsiteX181" fmla="*/ 1468890 w 12156173"/>
                <a:gd name="connsiteY181" fmla="*/ 1017204 h 2097925"/>
                <a:gd name="connsiteX182" fmla="*/ 1471388 w 12156173"/>
                <a:gd name="connsiteY182" fmla="*/ 1022810 h 2097925"/>
                <a:gd name="connsiteX183" fmla="*/ 1405157 w 12156173"/>
                <a:gd name="connsiteY183" fmla="*/ 1053153 h 2097925"/>
                <a:gd name="connsiteX184" fmla="*/ 3751980 w 12156173"/>
                <a:gd name="connsiteY184" fmla="*/ 1034447 h 2097925"/>
                <a:gd name="connsiteX185" fmla="*/ 3679901 w 12156173"/>
                <a:gd name="connsiteY185" fmla="*/ 1022261 h 2097925"/>
                <a:gd name="connsiteX186" fmla="*/ 3680937 w 12156173"/>
                <a:gd name="connsiteY186" fmla="*/ 1016168 h 2097925"/>
                <a:gd name="connsiteX187" fmla="*/ 3752955 w 12156173"/>
                <a:gd name="connsiteY187" fmla="*/ 1028354 h 2097925"/>
                <a:gd name="connsiteX188" fmla="*/ 5859290 w 12156173"/>
                <a:gd name="connsiteY188" fmla="*/ 1025369 h 2097925"/>
                <a:gd name="connsiteX189" fmla="*/ 5857766 w 12156173"/>
                <a:gd name="connsiteY189" fmla="*/ 1019276 h 2097925"/>
                <a:gd name="connsiteX190" fmla="*/ 5928384 w 12156173"/>
                <a:gd name="connsiteY190" fmla="*/ 1000448 h 2097925"/>
                <a:gd name="connsiteX191" fmla="*/ 5930029 w 12156173"/>
                <a:gd name="connsiteY191" fmla="*/ 1006541 h 2097925"/>
                <a:gd name="connsiteX192" fmla="*/ 5859290 w 12156173"/>
                <a:gd name="connsiteY192" fmla="*/ 1025369 h 2097925"/>
                <a:gd name="connsiteX193" fmla="*/ 10555250 w 12156173"/>
                <a:gd name="connsiteY193" fmla="*/ 1018301 h 2097925"/>
                <a:gd name="connsiteX194" fmla="*/ 10491640 w 12156173"/>
                <a:gd name="connsiteY194" fmla="*/ 982292 h 2097925"/>
                <a:gd name="connsiteX195" fmla="*/ 10494687 w 12156173"/>
                <a:gd name="connsiteY195" fmla="*/ 976991 h 2097925"/>
                <a:gd name="connsiteX196" fmla="*/ 10558236 w 12156173"/>
                <a:gd name="connsiteY196" fmla="*/ 1013000 h 2097925"/>
                <a:gd name="connsiteX197" fmla="*/ 3607821 w 12156173"/>
                <a:gd name="connsiteY197" fmla="*/ 1009222 h 2097925"/>
                <a:gd name="connsiteX198" fmla="*/ 3535924 w 12156173"/>
                <a:gd name="connsiteY198" fmla="*/ 995879 h 2097925"/>
                <a:gd name="connsiteX199" fmla="*/ 3537021 w 12156173"/>
                <a:gd name="connsiteY199" fmla="*/ 989786 h 2097925"/>
                <a:gd name="connsiteX200" fmla="*/ 3608918 w 12156173"/>
                <a:gd name="connsiteY200" fmla="*/ 1003129 h 2097925"/>
                <a:gd name="connsiteX201" fmla="*/ 1538228 w 12156173"/>
                <a:gd name="connsiteY201" fmla="*/ 993624 h 2097925"/>
                <a:gd name="connsiteX202" fmla="*/ 1535912 w 12156173"/>
                <a:gd name="connsiteY202" fmla="*/ 988019 h 2097925"/>
                <a:gd name="connsiteX203" fmla="*/ 1603666 w 12156173"/>
                <a:gd name="connsiteY203" fmla="*/ 960479 h 2097925"/>
                <a:gd name="connsiteX204" fmla="*/ 1605859 w 12156173"/>
                <a:gd name="connsiteY204" fmla="*/ 966206 h 2097925"/>
                <a:gd name="connsiteX205" fmla="*/ 1538228 w 12156173"/>
                <a:gd name="connsiteY205" fmla="*/ 993624 h 2097925"/>
                <a:gd name="connsiteX206" fmla="*/ 6000280 w 12156173"/>
                <a:gd name="connsiteY206" fmla="*/ 985948 h 2097925"/>
                <a:gd name="connsiteX207" fmla="*/ 5998513 w 12156173"/>
                <a:gd name="connsiteY207" fmla="*/ 979855 h 2097925"/>
                <a:gd name="connsiteX208" fmla="*/ 6068156 w 12156173"/>
                <a:gd name="connsiteY208" fmla="*/ 957859 h 2097925"/>
                <a:gd name="connsiteX209" fmla="*/ 6070045 w 12156173"/>
                <a:gd name="connsiteY209" fmla="*/ 963586 h 2097925"/>
                <a:gd name="connsiteX210" fmla="*/ 6000280 w 12156173"/>
                <a:gd name="connsiteY210" fmla="*/ 985948 h 2097925"/>
                <a:gd name="connsiteX211" fmla="*/ 3464088 w 12156173"/>
                <a:gd name="connsiteY211" fmla="*/ 982109 h 2097925"/>
                <a:gd name="connsiteX212" fmla="*/ 3392374 w 12156173"/>
                <a:gd name="connsiteY212" fmla="*/ 967851 h 2097925"/>
                <a:gd name="connsiteX213" fmla="*/ 3393593 w 12156173"/>
                <a:gd name="connsiteY213" fmla="*/ 961758 h 2097925"/>
                <a:gd name="connsiteX214" fmla="*/ 3465246 w 12156173"/>
                <a:gd name="connsiteY214" fmla="*/ 975955 h 2097925"/>
                <a:gd name="connsiteX215" fmla="*/ 3320721 w 12156173"/>
                <a:gd name="connsiteY215" fmla="*/ 953167 h 2097925"/>
                <a:gd name="connsiteX216" fmla="*/ 3249129 w 12156173"/>
                <a:gd name="connsiteY216" fmla="*/ 938118 h 2097925"/>
                <a:gd name="connsiteX217" fmla="*/ 3250408 w 12156173"/>
                <a:gd name="connsiteY217" fmla="*/ 932025 h 2097925"/>
                <a:gd name="connsiteX218" fmla="*/ 3321940 w 12156173"/>
                <a:gd name="connsiteY218" fmla="*/ 947075 h 2097925"/>
                <a:gd name="connsiteX219" fmla="*/ 10428395 w 12156173"/>
                <a:gd name="connsiteY219" fmla="*/ 946160 h 2097925"/>
                <a:gd name="connsiteX220" fmla="*/ 10365090 w 12156173"/>
                <a:gd name="connsiteY220" fmla="*/ 909603 h 2097925"/>
                <a:gd name="connsiteX221" fmla="*/ 10368197 w 12156173"/>
                <a:gd name="connsiteY221" fmla="*/ 904363 h 2097925"/>
                <a:gd name="connsiteX222" fmla="*/ 10431442 w 12156173"/>
                <a:gd name="connsiteY222" fmla="*/ 940921 h 2097925"/>
                <a:gd name="connsiteX223" fmla="*/ 1674161 w 12156173"/>
                <a:gd name="connsiteY223" fmla="*/ 940372 h 2097925"/>
                <a:gd name="connsiteX224" fmla="*/ 1672090 w 12156173"/>
                <a:gd name="connsiteY224" fmla="*/ 934645 h 2097925"/>
                <a:gd name="connsiteX225" fmla="*/ 1741184 w 12156173"/>
                <a:gd name="connsiteY225" fmla="*/ 910273 h 2097925"/>
                <a:gd name="connsiteX226" fmla="*/ 1743134 w 12156173"/>
                <a:gd name="connsiteY226" fmla="*/ 916366 h 2097925"/>
                <a:gd name="connsiteX227" fmla="*/ 1674161 w 12156173"/>
                <a:gd name="connsiteY227" fmla="*/ 940372 h 2097925"/>
                <a:gd name="connsiteX228" fmla="*/ 6139322 w 12156173"/>
                <a:gd name="connsiteY228" fmla="*/ 940372 h 2097925"/>
                <a:gd name="connsiteX229" fmla="*/ 6137250 w 12156173"/>
                <a:gd name="connsiteY229" fmla="*/ 934645 h 2097925"/>
                <a:gd name="connsiteX230" fmla="*/ 6205735 w 12156173"/>
                <a:gd name="connsiteY230" fmla="*/ 909359 h 2097925"/>
                <a:gd name="connsiteX231" fmla="*/ 6207928 w 12156173"/>
                <a:gd name="connsiteY231" fmla="*/ 915026 h 2097925"/>
                <a:gd name="connsiteX232" fmla="*/ 6139322 w 12156173"/>
                <a:gd name="connsiteY232" fmla="*/ 940067 h 2097925"/>
                <a:gd name="connsiteX233" fmla="*/ 3177658 w 12156173"/>
                <a:gd name="connsiteY233" fmla="*/ 922885 h 2097925"/>
                <a:gd name="connsiteX234" fmla="*/ 3106249 w 12156173"/>
                <a:gd name="connsiteY234" fmla="*/ 907105 h 2097925"/>
                <a:gd name="connsiteX235" fmla="*/ 3107590 w 12156173"/>
                <a:gd name="connsiteY235" fmla="*/ 901012 h 2097925"/>
                <a:gd name="connsiteX236" fmla="*/ 3178999 w 12156173"/>
                <a:gd name="connsiteY236" fmla="*/ 916792 h 2097925"/>
                <a:gd name="connsiteX237" fmla="*/ 1812837 w 12156173"/>
                <a:gd name="connsiteY237" fmla="*/ 894309 h 2097925"/>
                <a:gd name="connsiteX238" fmla="*/ 1811009 w 12156173"/>
                <a:gd name="connsiteY238" fmla="*/ 888216 h 2097925"/>
                <a:gd name="connsiteX239" fmla="*/ 1881383 w 12156173"/>
                <a:gd name="connsiteY239" fmla="*/ 867927 h 2097925"/>
                <a:gd name="connsiteX240" fmla="*/ 1883028 w 12156173"/>
                <a:gd name="connsiteY240" fmla="*/ 874020 h 2097925"/>
                <a:gd name="connsiteX241" fmla="*/ 1812715 w 12156173"/>
                <a:gd name="connsiteY241" fmla="*/ 894066 h 2097925"/>
                <a:gd name="connsiteX242" fmla="*/ 3035084 w 12156173"/>
                <a:gd name="connsiteY242" fmla="*/ 890958 h 2097925"/>
                <a:gd name="connsiteX243" fmla="*/ 2963430 w 12156173"/>
                <a:gd name="connsiteY243" fmla="*/ 874264 h 2097925"/>
                <a:gd name="connsiteX244" fmla="*/ 2964832 w 12156173"/>
                <a:gd name="connsiteY244" fmla="*/ 868171 h 2097925"/>
                <a:gd name="connsiteX245" fmla="*/ 3036058 w 12156173"/>
                <a:gd name="connsiteY245" fmla="*/ 884622 h 2097925"/>
                <a:gd name="connsiteX246" fmla="*/ 6276048 w 12156173"/>
                <a:gd name="connsiteY246" fmla="*/ 888034 h 2097925"/>
                <a:gd name="connsiteX247" fmla="*/ 6273732 w 12156173"/>
                <a:gd name="connsiteY247" fmla="*/ 882428 h 2097925"/>
                <a:gd name="connsiteX248" fmla="*/ 6340755 w 12156173"/>
                <a:gd name="connsiteY248" fmla="*/ 853791 h 2097925"/>
                <a:gd name="connsiteX249" fmla="*/ 6343192 w 12156173"/>
                <a:gd name="connsiteY249" fmla="*/ 859397 h 2097925"/>
                <a:gd name="connsiteX250" fmla="*/ 6275926 w 12156173"/>
                <a:gd name="connsiteY250" fmla="*/ 887790 h 2097925"/>
                <a:gd name="connsiteX251" fmla="*/ 10302149 w 12156173"/>
                <a:gd name="connsiteY251" fmla="*/ 872557 h 2097925"/>
                <a:gd name="connsiteX252" fmla="*/ 10239148 w 12156173"/>
                <a:gd name="connsiteY252" fmla="*/ 835452 h 2097925"/>
                <a:gd name="connsiteX253" fmla="*/ 10242255 w 12156173"/>
                <a:gd name="connsiteY253" fmla="*/ 830211 h 2097925"/>
                <a:gd name="connsiteX254" fmla="*/ 10305195 w 12156173"/>
                <a:gd name="connsiteY254" fmla="*/ 867318 h 2097925"/>
                <a:gd name="connsiteX255" fmla="*/ 2892326 w 12156173"/>
                <a:gd name="connsiteY255" fmla="*/ 857447 h 2097925"/>
                <a:gd name="connsiteX256" fmla="*/ 2831396 w 12156173"/>
                <a:gd name="connsiteY256" fmla="*/ 842824 h 2097925"/>
                <a:gd name="connsiteX257" fmla="*/ 2821282 w 12156173"/>
                <a:gd name="connsiteY257" fmla="*/ 840387 h 2097925"/>
                <a:gd name="connsiteX258" fmla="*/ 2822622 w 12156173"/>
                <a:gd name="connsiteY258" fmla="*/ 834294 h 2097925"/>
                <a:gd name="connsiteX259" fmla="*/ 2832858 w 12156173"/>
                <a:gd name="connsiteY259" fmla="*/ 836670 h 2097925"/>
                <a:gd name="connsiteX260" fmla="*/ 2893788 w 12156173"/>
                <a:gd name="connsiteY260" fmla="*/ 851354 h 2097925"/>
                <a:gd name="connsiteX261" fmla="*/ 1953645 w 12156173"/>
                <a:gd name="connsiteY261" fmla="*/ 855680 h 2097925"/>
                <a:gd name="connsiteX262" fmla="*/ 1952183 w 12156173"/>
                <a:gd name="connsiteY262" fmla="*/ 849587 h 2097925"/>
                <a:gd name="connsiteX263" fmla="*/ 2023653 w 12156173"/>
                <a:gd name="connsiteY263" fmla="*/ 833624 h 2097925"/>
                <a:gd name="connsiteX264" fmla="*/ 2024872 w 12156173"/>
                <a:gd name="connsiteY264" fmla="*/ 839717 h 2097925"/>
                <a:gd name="connsiteX265" fmla="*/ 1953645 w 12156173"/>
                <a:gd name="connsiteY265" fmla="*/ 855680 h 2097925"/>
                <a:gd name="connsiteX266" fmla="*/ 6409788 w 12156173"/>
                <a:gd name="connsiteY266" fmla="*/ 828871 h 2097925"/>
                <a:gd name="connsiteX267" fmla="*/ 6407168 w 12156173"/>
                <a:gd name="connsiteY267" fmla="*/ 823327 h 2097925"/>
                <a:gd name="connsiteX268" fmla="*/ 6469925 w 12156173"/>
                <a:gd name="connsiteY268" fmla="*/ 792862 h 2097925"/>
                <a:gd name="connsiteX269" fmla="*/ 6472911 w 12156173"/>
                <a:gd name="connsiteY269" fmla="*/ 791339 h 2097925"/>
                <a:gd name="connsiteX270" fmla="*/ 6475652 w 12156173"/>
                <a:gd name="connsiteY270" fmla="*/ 796761 h 2097925"/>
                <a:gd name="connsiteX271" fmla="*/ 6472606 w 12156173"/>
                <a:gd name="connsiteY271" fmla="*/ 798284 h 2097925"/>
                <a:gd name="connsiteX272" fmla="*/ 6409788 w 12156173"/>
                <a:gd name="connsiteY272" fmla="*/ 828871 h 2097925"/>
                <a:gd name="connsiteX273" fmla="*/ 2096586 w 12156173"/>
                <a:gd name="connsiteY273" fmla="*/ 826008 h 2097925"/>
                <a:gd name="connsiteX274" fmla="*/ 2095550 w 12156173"/>
                <a:gd name="connsiteY274" fmla="*/ 819915 h 2097925"/>
                <a:gd name="connsiteX275" fmla="*/ 2167813 w 12156173"/>
                <a:gd name="connsiteY275" fmla="*/ 808642 h 2097925"/>
                <a:gd name="connsiteX276" fmla="*/ 2168666 w 12156173"/>
                <a:gd name="connsiteY276" fmla="*/ 814735 h 2097925"/>
                <a:gd name="connsiteX277" fmla="*/ 2096586 w 12156173"/>
                <a:gd name="connsiteY277" fmla="*/ 826008 h 2097925"/>
                <a:gd name="connsiteX278" fmla="*/ 2749690 w 12156173"/>
                <a:gd name="connsiteY278" fmla="*/ 825337 h 2097925"/>
                <a:gd name="connsiteX279" fmla="*/ 2677671 w 12156173"/>
                <a:gd name="connsiteY279" fmla="*/ 813151 h 2097925"/>
                <a:gd name="connsiteX280" fmla="*/ 2678524 w 12156173"/>
                <a:gd name="connsiteY280" fmla="*/ 807058 h 2097925"/>
                <a:gd name="connsiteX281" fmla="*/ 2750786 w 12156173"/>
                <a:gd name="connsiteY281" fmla="*/ 819244 h 2097925"/>
                <a:gd name="connsiteX282" fmla="*/ 2241050 w 12156173"/>
                <a:gd name="connsiteY282" fmla="*/ 806022 h 2097925"/>
                <a:gd name="connsiteX283" fmla="*/ 2240440 w 12156173"/>
                <a:gd name="connsiteY283" fmla="*/ 799930 h 2097925"/>
                <a:gd name="connsiteX284" fmla="*/ 2313556 w 12156173"/>
                <a:gd name="connsiteY284" fmla="*/ 793837 h 2097925"/>
                <a:gd name="connsiteX285" fmla="*/ 2313921 w 12156173"/>
                <a:gd name="connsiteY285" fmla="*/ 799930 h 2097925"/>
                <a:gd name="connsiteX286" fmla="*/ 2241050 w 12156173"/>
                <a:gd name="connsiteY286" fmla="*/ 806022 h 2097925"/>
                <a:gd name="connsiteX287" fmla="*/ 2605226 w 12156173"/>
                <a:gd name="connsiteY287" fmla="*/ 804560 h 2097925"/>
                <a:gd name="connsiteX288" fmla="*/ 2532476 w 12156173"/>
                <a:gd name="connsiteY288" fmla="*/ 798894 h 2097925"/>
                <a:gd name="connsiteX289" fmla="*/ 2532841 w 12156173"/>
                <a:gd name="connsiteY289" fmla="*/ 792801 h 2097925"/>
                <a:gd name="connsiteX290" fmla="*/ 2605957 w 12156173"/>
                <a:gd name="connsiteY290" fmla="*/ 798406 h 2097925"/>
                <a:gd name="connsiteX291" fmla="*/ 10176147 w 12156173"/>
                <a:gd name="connsiteY291" fmla="*/ 797797 h 2097925"/>
                <a:gd name="connsiteX292" fmla="*/ 10113389 w 12156173"/>
                <a:gd name="connsiteY292" fmla="*/ 760325 h 2097925"/>
                <a:gd name="connsiteX293" fmla="*/ 10116497 w 12156173"/>
                <a:gd name="connsiteY293" fmla="*/ 755085 h 2097925"/>
                <a:gd name="connsiteX294" fmla="*/ 10179254 w 12156173"/>
                <a:gd name="connsiteY294" fmla="*/ 792557 h 2097925"/>
                <a:gd name="connsiteX295" fmla="*/ 2386550 w 12156173"/>
                <a:gd name="connsiteY295" fmla="*/ 796700 h 2097925"/>
                <a:gd name="connsiteX296" fmla="*/ 2386550 w 12156173"/>
                <a:gd name="connsiteY296" fmla="*/ 790607 h 2097925"/>
                <a:gd name="connsiteX297" fmla="*/ 2459665 w 12156173"/>
                <a:gd name="connsiteY297" fmla="*/ 790242 h 2097925"/>
                <a:gd name="connsiteX298" fmla="*/ 2459665 w 12156173"/>
                <a:gd name="connsiteY298" fmla="*/ 796335 h 2097925"/>
                <a:gd name="connsiteX299" fmla="*/ 2386550 w 12156173"/>
                <a:gd name="connsiteY299" fmla="*/ 796822 h 2097925"/>
                <a:gd name="connsiteX300" fmla="*/ 6539994 w 12156173"/>
                <a:gd name="connsiteY300" fmla="*/ 762153 h 2097925"/>
                <a:gd name="connsiteX301" fmla="*/ 6536948 w 12156173"/>
                <a:gd name="connsiteY301" fmla="*/ 756852 h 2097925"/>
                <a:gd name="connsiteX302" fmla="*/ 6599522 w 12156173"/>
                <a:gd name="connsiteY302" fmla="*/ 719259 h 2097925"/>
                <a:gd name="connsiteX303" fmla="*/ 6602752 w 12156173"/>
                <a:gd name="connsiteY303" fmla="*/ 724438 h 2097925"/>
                <a:gd name="connsiteX304" fmla="*/ 6539994 w 12156173"/>
                <a:gd name="connsiteY304" fmla="*/ 762153 h 2097925"/>
                <a:gd name="connsiteX305" fmla="*/ 10050571 w 12156173"/>
                <a:gd name="connsiteY305" fmla="*/ 722854 h 2097925"/>
                <a:gd name="connsiteX306" fmla="*/ 9987997 w 12156173"/>
                <a:gd name="connsiteY306" fmla="*/ 685077 h 2097925"/>
                <a:gd name="connsiteX307" fmla="*/ 9991165 w 12156173"/>
                <a:gd name="connsiteY307" fmla="*/ 679837 h 2097925"/>
                <a:gd name="connsiteX308" fmla="*/ 10053739 w 12156173"/>
                <a:gd name="connsiteY308" fmla="*/ 717614 h 2097925"/>
                <a:gd name="connsiteX309" fmla="*/ 6664230 w 12156173"/>
                <a:gd name="connsiteY309" fmla="*/ 684590 h 2097925"/>
                <a:gd name="connsiteX310" fmla="*/ 6660817 w 12156173"/>
                <a:gd name="connsiteY310" fmla="*/ 679472 h 2097925"/>
                <a:gd name="connsiteX311" fmla="*/ 6721199 w 12156173"/>
                <a:gd name="connsiteY311" fmla="*/ 638283 h 2097925"/>
                <a:gd name="connsiteX312" fmla="*/ 6724672 w 12156173"/>
                <a:gd name="connsiteY312" fmla="*/ 643341 h 2097925"/>
                <a:gd name="connsiteX313" fmla="*/ 6664352 w 12156173"/>
                <a:gd name="connsiteY313" fmla="*/ 684590 h 2097925"/>
                <a:gd name="connsiteX314" fmla="*/ 9925483 w 12156173"/>
                <a:gd name="connsiteY314" fmla="*/ 647118 h 2097925"/>
                <a:gd name="connsiteX315" fmla="*/ 9863030 w 12156173"/>
                <a:gd name="connsiteY315" fmla="*/ 609159 h 2097925"/>
                <a:gd name="connsiteX316" fmla="*/ 9866198 w 12156173"/>
                <a:gd name="connsiteY316" fmla="*/ 603919 h 2097925"/>
                <a:gd name="connsiteX317" fmla="*/ 9928651 w 12156173"/>
                <a:gd name="connsiteY317" fmla="*/ 641939 h 2097925"/>
                <a:gd name="connsiteX318" fmla="*/ 6784504 w 12156173"/>
                <a:gd name="connsiteY318" fmla="*/ 601177 h 2097925"/>
                <a:gd name="connsiteX319" fmla="*/ 6780971 w 12156173"/>
                <a:gd name="connsiteY319" fmla="*/ 596242 h 2097925"/>
                <a:gd name="connsiteX320" fmla="*/ 6840438 w 12156173"/>
                <a:gd name="connsiteY320" fmla="*/ 553591 h 2097925"/>
                <a:gd name="connsiteX321" fmla="*/ 6843972 w 12156173"/>
                <a:gd name="connsiteY321" fmla="*/ 558527 h 2097925"/>
                <a:gd name="connsiteX322" fmla="*/ 6784626 w 12156173"/>
                <a:gd name="connsiteY322" fmla="*/ 601177 h 2097925"/>
                <a:gd name="connsiteX323" fmla="*/ 9800516 w 12156173"/>
                <a:gd name="connsiteY323" fmla="*/ 571017 h 2097925"/>
                <a:gd name="connsiteX324" fmla="*/ 9738185 w 12156173"/>
                <a:gd name="connsiteY324" fmla="*/ 532814 h 2097925"/>
                <a:gd name="connsiteX325" fmla="*/ 9741415 w 12156173"/>
                <a:gd name="connsiteY325" fmla="*/ 527635 h 2097925"/>
                <a:gd name="connsiteX326" fmla="*/ 9803685 w 12156173"/>
                <a:gd name="connsiteY326" fmla="*/ 565838 h 2097925"/>
                <a:gd name="connsiteX327" fmla="*/ 6903256 w 12156173"/>
                <a:gd name="connsiteY327" fmla="*/ 516181 h 2097925"/>
                <a:gd name="connsiteX328" fmla="*/ 6899722 w 12156173"/>
                <a:gd name="connsiteY328" fmla="*/ 511245 h 2097925"/>
                <a:gd name="connsiteX329" fmla="*/ 6959311 w 12156173"/>
                <a:gd name="connsiteY329" fmla="*/ 468595 h 2097925"/>
                <a:gd name="connsiteX330" fmla="*/ 6962784 w 12156173"/>
                <a:gd name="connsiteY330" fmla="*/ 473591 h 2097925"/>
                <a:gd name="connsiteX331" fmla="*/ 6903500 w 12156173"/>
                <a:gd name="connsiteY331" fmla="*/ 515937 h 2097925"/>
                <a:gd name="connsiteX332" fmla="*/ 9675855 w 12156173"/>
                <a:gd name="connsiteY332" fmla="*/ 494916 h 2097925"/>
                <a:gd name="connsiteX333" fmla="*/ 9613097 w 12156173"/>
                <a:gd name="connsiteY333" fmla="*/ 457505 h 2097925"/>
                <a:gd name="connsiteX334" fmla="*/ 9616143 w 12156173"/>
                <a:gd name="connsiteY334" fmla="*/ 452266 h 2097925"/>
                <a:gd name="connsiteX335" fmla="*/ 9679022 w 12156173"/>
                <a:gd name="connsiteY335" fmla="*/ 489676 h 2097925"/>
                <a:gd name="connsiteX336" fmla="*/ 7022678 w 12156173"/>
                <a:gd name="connsiteY336" fmla="*/ 431854 h 2097925"/>
                <a:gd name="connsiteX337" fmla="*/ 7019205 w 12156173"/>
                <a:gd name="connsiteY337" fmla="*/ 426858 h 2097925"/>
                <a:gd name="connsiteX338" fmla="*/ 7079708 w 12156173"/>
                <a:gd name="connsiteY338" fmla="*/ 385670 h 2097925"/>
                <a:gd name="connsiteX339" fmla="*/ 7083120 w 12156173"/>
                <a:gd name="connsiteY339" fmla="*/ 390727 h 2097925"/>
                <a:gd name="connsiteX340" fmla="*/ 7022922 w 12156173"/>
                <a:gd name="connsiteY340" fmla="*/ 431610 h 2097925"/>
                <a:gd name="connsiteX341" fmla="*/ 9549913 w 12156173"/>
                <a:gd name="connsiteY341" fmla="*/ 420826 h 2097925"/>
                <a:gd name="connsiteX342" fmla="*/ 9486059 w 12156173"/>
                <a:gd name="connsiteY342" fmla="*/ 385304 h 2097925"/>
                <a:gd name="connsiteX343" fmla="*/ 9488922 w 12156173"/>
                <a:gd name="connsiteY343" fmla="*/ 380003 h 2097925"/>
                <a:gd name="connsiteX344" fmla="*/ 9552899 w 12156173"/>
                <a:gd name="connsiteY344" fmla="*/ 415525 h 2097925"/>
                <a:gd name="connsiteX345" fmla="*/ 9421961 w 12156173"/>
                <a:gd name="connsiteY345" fmla="*/ 350879 h 2097925"/>
                <a:gd name="connsiteX346" fmla="*/ 9357010 w 12156173"/>
                <a:gd name="connsiteY346" fmla="*/ 317489 h 2097925"/>
                <a:gd name="connsiteX347" fmla="*/ 9359752 w 12156173"/>
                <a:gd name="connsiteY347" fmla="*/ 312067 h 2097925"/>
                <a:gd name="connsiteX348" fmla="*/ 9424824 w 12156173"/>
                <a:gd name="connsiteY348" fmla="*/ 345456 h 2097925"/>
                <a:gd name="connsiteX349" fmla="*/ 7144659 w 12156173"/>
                <a:gd name="connsiteY349" fmla="*/ 350330 h 2097925"/>
                <a:gd name="connsiteX350" fmla="*/ 7141368 w 12156173"/>
                <a:gd name="connsiteY350" fmla="*/ 345212 h 2097925"/>
                <a:gd name="connsiteX351" fmla="*/ 7203334 w 12156173"/>
                <a:gd name="connsiteY351" fmla="*/ 306278 h 2097925"/>
                <a:gd name="connsiteX352" fmla="*/ 7206502 w 12156173"/>
                <a:gd name="connsiteY352" fmla="*/ 311457 h 2097925"/>
                <a:gd name="connsiteX353" fmla="*/ 7144415 w 12156173"/>
                <a:gd name="connsiteY353" fmla="*/ 350330 h 2097925"/>
                <a:gd name="connsiteX354" fmla="*/ 9291450 w 12156173"/>
                <a:gd name="connsiteY354" fmla="*/ 285258 h 2097925"/>
                <a:gd name="connsiteX355" fmla="*/ 9225280 w 12156173"/>
                <a:gd name="connsiteY355" fmla="*/ 254306 h 2097925"/>
                <a:gd name="connsiteX356" fmla="*/ 9227840 w 12156173"/>
                <a:gd name="connsiteY356" fmla="*/ 248761 h 2097925"/>
                <a:gd name="connsiteX357" fmla="*/ 9294070 w 12156173"/>
                <a:gd name="connsiteY357" fmla="*/ 279774 h 2097925"/>
                <a:gd name="connsiteX358" fmla="*/ 7269259 w 12156173"/>
                <a:gd name="connsiteY358" fmla="*/ 274108 h 2097925"/>
                <a:gd name="connsiteX359" fmla="*/ 7266213 w 12156173"/>
                <a:gd name="connsiteY359" fmla="*/ 268807 h 2097925"/>
                <a:gd name="connsiteX360" fmla="*/ 7330068 w 12156173"/>
                <a:gd name="connsiteY360" fmla="*/ 233041 h 2097925"/>
                <a:gd name="connsiteX361" fmla="*/ 7332992 w 12156173"/>
                <a:gd name="connsiteY361" fmla="*/ 238403 h 2097925"/>
                <a:gd name="connsiteX362" fmla="*/ 7269016 w 12156173"/>
                <a:gd name="connsiteY362" fmla="*/ 274108 h 2097925"/>
                <a:gd name="connsiteX363" fmla="*/ 9158563 w 12156173"/>
                <a:gd name="connsiteY363" fmla="*/ 224633 h 2097925"/>
                <a:gd name="connsiteX364" fmla="*/ 9091540 w 12156173"/>
                <a:gd name="connsiteY364" fmla="*/ 196361 h 2097925"/>
                <a:gd name="connsiteX365" fmla="*/ 9093795 w 12156173"/>
                <a:gd name="connsiteY365" fmla="*/ 190695 h 2097925"/>
                <a:gd name="connsiteX366" fmla="*/ 9161304 w 12156173"/>
                <a:gd name="connsiteY366" fmla="*/ 219027 h 2097925"/>
                <a:gd name="connsiteX367" fmla="*/ 7397699 w 12156173"/>
                <a:gd name="connsiteY367" fmla="*/ 204587 h 2097925"/>
                <a:gd name="connsiteX368" fmla="*/ 7394957 w 12156173"/>
                <a:gd name="connsiteY368" fmla="*/ 199164 h 2097925"/>
                <a:gd name="connsiteX369" fmla="*/ 7460944 w 12156173"/>
                <a:gd name="connsiteY369" fmla="*/ 167420 h 2097925"/>
                <a:gd name="connsiteX370" fmla="*/ 7463443 w 12156173"/>
                <a:gd name="connsiteY370" fmla="*/ 172965 h 2097925"/>
                <a:gd name="connsiteX371" fmla="*/ 7397455 w 12156173"/>
                <a:gd name="connsiteY371" fmla="*/ 204587 h 2097925"/>
                <a:gd name="connsiteX372" fmla="*/ 9023299 w 12156173"/>
                <a:gd name="connsiteY372" fmla="*/ 169613 h 2097925"/>
                <a:gd name="connsiteX373" fmla="*/ 8954693 w 12156173"/>
                <a:gd name="connsiteY373" fmla="*/ 144389 h 2097925"/>
                <a:gd name="connsiteX374" fmla="*/ 8956764 w 12156173"/>
                <a:gd name="connsiteY374" fmla="*/ 138661 h 2097925"/>
                <a:gd name="connsiteX375" fmla="*/ 9025432 w 12156173"/>
                <a:gd name="connsiteY375" fmla="*/ 163886 h 2097925"/>
                <a:gd name="connsiteX376" fmla="*/ 7530525 w 12156173"/>
                <a:gd name="connsiteY376" fmla="*/ 143596 h 2097925"/>
                <a:gd name="connsiteX377" fmla="*/ 7528150 w 12156173"/>
                <a:gd name="connsiteY377" fmla="*/ 137991 h 2097925"/>
                <a:gd name="connsiteX378" fmla="*/ 7596208 w 12156173"/>
                <a:gd name="connsiteY378" fmla="*/ 111060 h 2097925"/>
                <a:gd name="connsiteX379" fmla="*/ 7598340 w 12156173"/>
                <a:gd name="connsiteY379" fmla="*/ 116727 h 2097925"/>
                <a:gd name="connsiteX380" fmla="*/ 7530038 w 12156173"/>
                <a:gd name="connsiteY380" fmla="*/ 143596 h 2097925"/>
                <a:gd name="connsiteX381" fmla="*/ 8885842 w 12156173"/>
                <a:gd name="connsiteY381" fmla="*/ 120931 h 2097925"/>
                <a:gd name="connsiteX382" fmla="*/ 8816078 w 12156173"/>
                <a:gd name="connsiteY382" fmla="*/ 99240 h 2097925"/>
                <a:gd name="connsiteX383" fmla="*/ 8817844 w 12156173"/>
                <a:gd name="connsiteY383" fmla="*/ 93147 h 2097925"/>
                <a:gd name="connsiteX384" fmla="*/ 8887730 w 12156173"/>
                <a:gd name="connsiteY384" fmla="*/ 114899 h 2097925"/>
                <a:gd name="connsiteX385" fmla="*/ 7667252 w 12156173"/>
                <a:gd name="connsiteY385" fmla="*/ 92538 h 2097925"/>
                <a:gd name="connsiteX386" fmla="*/ 7665362 w 12156173"/>
                <a:gd name="connsiteY386" fmla="*/ 86749 h 2097925"/>
                <a:gd name="connsiteX387" fmla="*/ 7735310 w 12156173"/>
                <a:gd name="connsiteY387" fmla="*/ 65302 h 2097925"/>
                <a:gd name="connsiteX388" fmla="*/ 7737016 w 12156173"/>
                <a:gd name="connsiteY388" fmla="*/ 71395 h 2097925"/>
                <a:gd name="connsiteX389" fmla="*/ 7666703 w 12156173"/>
                <a:gd name="connsiteY389" fmla="*/ 92538 h 2097925"/>
                <a:gd name="connsiteX390" fmla="*/ 8745704 w 12156173"/>
                <a:gd name="connsiteY390" fmla="*/ 79499 h 2097925"/>
                <a:gd name="connsiteX391" fmla="*/ 8674843 w 12156173"/>
                <a:gd name="connsiteY391" fmla="*/ 61829 h 2097925"/>
                <a:gd name="connsiteX392" fmla="*/ 8676244 w 12156173"/>
                <a:gd name="connsiteY392" fmla="*/ 55736 h 2097925"/>
                <a:gd name="connsiteX393" fmla="*/ 8747227 w 12156173"/>
                <a:gd name="connsiteY393" fmla="*/ 73467 h 2097925"/>
                <a:gd name="connsiteX394" fmla="*/ 7807390 w 12156173"/>
                <a:gd name="connsiteY394" fmla="*/ 52690 h 2097925"/>
                <a:gd name="connsiteX395" fmla="*/ 7805927 w 12156173"/>
                <a:gd name="connsiteY395" fmla="*/ 46597 h 2097925"/>
                <a:gd name="connsiteX396" fmla="*/ 7877459 w 12156173"/>
                <a:gd name="connsiteY396" fmla="*/ 31060 h 2097925"/>
                <a:gd name="connsiteX397" fmla="*/ 7878616 w 12156173"/>
                <a:gd name="connsiteY397" fmla="*/ 37153 h 2097925"/>
                <a:gd name="connsiteX398" fmla="*/ 7807329 w 12156173"/>
                <a:gd name="connsiteY398" fmla="*/ 52690 h 2097925"/>
                <a:gd name="connsiteX399" fmla="*/ 8603556 w 12156173"/>
                <a:gd name="connsiteY399" fmla="*/ 46292 h 2097925"/>
                <a:gd name="connsiteX400" fmla="*/ 8531720 w 12156173"/>
                <a:gd name="connsiteY400" fmla="*/ 33070 h 2097925"/>
                <a:gd name="connsiteX401" fmla="*/ 8532756 w 12156173"/>
                <a:gd name="connsiteY401" fmla="*/ 26977 h 2097925"/>
                <a:gd name="connsiteX402" fmla="*/ 8604713 w 12156173"/>
                <a:gd name="connsiteY402" fmla="*/ 40199 h 2097925"/>
                <a:gd name="connsiteX403" fmla="*/ 7950513 w 12156173"/>
                <a:gd name="connsiteY403" fmla="*/ 24784 h 2097925"/>
                <a:gd name="connsiteX404" fmla="*/ 7949599 w 12156173"/>
                <a:gd name="connsiteY404" fmla="*/ 18691 h 2097925"/>
                <a:gd name="connsiteX405" fmla="*/ 8022166 w 12156173"/>
                <a:gd name="connsiteY405" fmla="*/ 9308 h 2097925"/>
                <a:gd name="connsiteX406" fmla="*/ 8022836 w 12156173"/>
                <a:gd name="connsiteY406" fmla="*/ 15401 h 2097925"/>
                <a:gd name="connsiteX407" fmla="*/ 7950147 w 12156173"/>
                <a:gd name="connsiteY407" fmla="*/ 24784 h 2097925"/>
                <a:gd name="connsiteX408" fmla="*/ 8459518 w 12156173"/>
                <a:gd name="connsiteY408" fmla="*/ 22286 h 2097925"/>
                <a:gd name="connsiteX409" fmla="*/ 8387012 w 12156173"/>
                <a:gd name="connsiteY409" fmla="*/ 14121 h 2097925"/>
                <a:gd name="connsiteX410" fmla="*/ 8387621 w 12156173"/>
                <a:gd name="connsiteY410" fmla="*/ 8028 h 2097925"/>
                <a:gd name="connsiteX411" fmla="*/ 8460310 w 12156173"/>
                <a:gd name="connsiteY411" fmla="*/ 16254 h 2097925"/>
                <a:gd name="connsiteX412" fmla="*/ 8095465 w 12156173"/>
                <a:gd name="connsiteY412" fmla="*/ 9247 h 2097925"/>
                <a:gd name="connsiteX413" fmla="*/ 8095099 w 12156173"/>
                <a:gd name="connsiteY413" fmla="*/ 3154 h 2097925"/>
                <a:gd name="connsiteX414" fmla="*/ 8168214 w 12156173"/>
                <a:gd name="connsiteY414" fmla="*/ -14 h 2097925"/>
                <a:gd name="connsiteX415" fmla="*/ 8168214 w 12156173"/>
                <a:gd name="connsiteY415" fmla="*/ 6078 h 2097925"/>
                <a:gd name="connsiteX416" fmla="*/ 8095099 w 12156173"/>
                <a:gd name="connsiteY416" fmla="*/ 9247 h 2097925"/>
                <a:gd name="connsiteX417" fmla="*/ 8314262 w 12156173"/>
                <a:gd name="connsiteY417" fmla="*/ 8577 h 2097925"/>
                <a:gd name="connsiteX418" fmla="*/ 8241147 w 12156173"/>
                <a:gd name="connsiteY418" fmla="*/ 5896 h 2097925"/>
                <a:gd name="connsiteX419" fmla="*/ 8241147 w 12156173"/>
                <a:gd name="connsiteY419" fmla="*/ -197 h 2097925"/>
                <a:gd name="connsiteX420" fmla="*/ 8314262 w 12156173"/>
                <a:gd name="connsiteY420" fmla="*/ 2484 h 209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Lst>
              <a:rect l="l" t="t" r="r" b="b"/>
              <a:pathLst>
                <a:path w="12156173" h="2097925">
                  <a:moveTo>
                    <a:pt x="4509" y="2097729"/>
                  </a:moveTo>
                  <a:lnTo>
                    <a:pt x="0" y="2093647"/>
                  </a:lnTo>
                  <a:cubicBezTo>
                    <a:pt x="0" y="2093647"/>
                    <a:pt x="18279" y="2073783"/>
                    <a:pt x="50694" y="2039968"/>
                  </a:cubicBezTo>
                  <a:lnTo>
                    <a:pt x="55081" y="2044172"/>
                  </a:lnTo>
                  <a:cubicBezTo>
                    <a:pt x="22423" y="2077744"/>
                    <a:pt x="4692" y="2097363"/>
                    <a:pt x="4509" y="2097729"/>
                  </a:cubicBezTo>
                  <a:close/>
                  <a:moveTo>
                    <a:pt x="106627" y="1992016"/>
                  </a:moveTo>
                  <a:lnTo>
                    <a:pt x="102362" y="1987690"/>
                  </a:lnTo>
                  <a:cubicBezTo>
                    <a:pt x="119300" y="1970812"/>
                    <a:pt x="136909" y="1953509"/>
                    <a:pt x="154761" y="1936326"/>
                  </a:cubicBezTo>
                  <a:lnTo>
                    <a:pt x="158966" y="1940652"/>
                  </a:lnTo>
                  <a:cubicBezTo>
                    <a:pt x="141174" y="1957591"/>
                    <a:pt x="123566" y="1974956"/>
                    <a:pt x="106627" y="1991833"/>
                  </a:cubicBezTo>
                  <a:close/>
                  <a:moveTo>
                    <a:pt x="212035" y="1890142"/>
                  </a:moveTo>
                  <a:lnTo>
                    <a:pt x="207892" y="1885755"/>
                  </a:lnTo>
                  <a:cubicBezTo>
                    <a:pt x="225562" y="1869121"/>
                    <a:pt x="243658" y="1852365"/>
                    <a:pt x="261693" y="1835915"/>
                  </a:cubicBezTo>
                  <a:lnTo>
                    <a:pt x="265775" y="1840423"/>
                  </a:lnTo>
                  <a:cubicBezTo>
                    <a:pt x="247740" y="1856691"/>
                    <a:pt x="229705" y="1873447"/>
                    <a:pt x="212035" y="1889959"/>
                  </a:cubicBezTo>
                  <a:close/>
                  <a:moveTo>
                    <a:pt x="320185" y="1791375"/>
                  </a:moveTo>
                  <a:lnTo>
                    <a:pt x="316103" y="1786805"/>
                  </a:lnTo>
                  <a:cubicBezTo>
                    <a:pt x="334382" y="1770842"/>
                    <a:pt x="352661" y="1754574"/>
                    <a:pt x="370939" y="1738488"/>
                  </a:cubicBezTo>
                  <a:lnTo>
                    <a:pt x="374900" y="1743058"/>
                  </a:lnTo>
                  <a:cubicBezTo>
                    <a:pt x="356621" y="1759021"/>
                    <a:pt x="338098" y="1775229"/>
                    <a:pt x="320185" y="1791192"/>
                  </a:cubicBezTo>
                  <a:close/>
                  <a:moveTo>
                    <a:pt x="430772" y="1695594"/>
                  </a:moveTo>
                  <a:lnTo>
                    <a:pt x="426873" y="1690902"/>
                  </a:lnTo>
                  <a:cubicBezTo>
                    <a:pt x="445152" y="1675243"/>
                    <a:pt x="464405" y="1659463"/>
                    <a:pt x="483172" y="1644047"/>
                  </a:cubicBezTo>
                  <a:lnTo>
                    <a:pt x="487010" y="1648739"/>
                  </a:lnTo>
                  <a:cubicBezTo>
                    <a:pt x="468305" y="1663910"/>
                    <a:pt x="449356" y="1679630"/>
                    <a:pt x="430772" y="1695594"/>
                  </a:cubicBezTo>
                  <a:close/>
                  <a:moveTo>
                    <a:pt x="543858" y="1602676"/>
                  </a:moveTo>
                  <a:lnTo>
                    <a:pt x="540080" y="1597924"/>
                  </a:lnTo>
                  <a:cubicBezTo>
                    <a:pt x="559029" y="1582752"/>
                    <a:pt x="578405" y="1567459"/>
                    <a:pt x="597597" y="1552592"/>
                  </a:cubicBezTo>
                  <a:lnTo>
                    <a:pt x="601314" y="1557345"/>
                  </a:lnTo>
                  <a:cubicBezTo>
                    <a:pt x="582182" y="1572028"/>
                    <a:pt x="562807" y="1587261"/>
                    <a:pt x="543858" y="1602433"/>
                  </a:cubicBezTo>
                  <a:close/>
                  <a:moveTo>
                    <a:pt x="659624" y="1512866"/>
                  </a:moveTo>
                  <a:lnTo>
                    <a:pt x="655907" y="1507992"/>
                  </a:lnTo>
                  <a:cubicBezTo>
                    <a:pt x="675587" y="1493186"/>
                    <a:pt x="695328" y="1478441"/>
                    <a:pt x="714643" y="1464244"/>
                  </a:cubicBezTo>
                  <a:lnTo>
                    <a:pt x="718299" y="1469180"/>
                  </a:lnTo>
                  <a:cubicBezTo>
                    <a:pt x="698679" y="1483132"/>
                    <a:pt x="678999" y="1497816"/>
                    <a:pt x="659380" y="1512805"/>
                  </a:cubicBezTo>
                  <a:close/>
                  <a:moveTo>
                    <a:pt x="11629621" y="1446392"/>
                  </a:moveTo>
                  <a:cubicBezTo>
                    <a:pt x="11606468" y="1446349"/>
                    <a:pt x="11583314" y="1445131"/>
                    <a:pt x="11560283" y="1442736"/>
                  </a:cubicBezTo>
                  <a:lnTo>
                    <a:pt x="11560954" y="1436643"/>
                  </a:lnTo>
                  <a:cubicBezTo>
                    <a:pt x="11583741" y="1438989"/>
                    <a:pt x="11606711" y="1440189"/>
                    <a:pt x="11629621" y="1440238"/>
                  </a:cubicBezTo>
                  <a:lnTo>
                    <a:pt x="11633459" y="1440238"/>
                  </a:lnTo>
                  <a:lnTo>
                    <a:pt x="11633459" y="1446331"/>
                  </a:lnTo>
                  <a:lnTo>
                    <a:pt x="11629560" y="1446331"/>
                  </a:lnTo>
                  <a:close/>
                  <a:moveTo>
                    <a:pt x="11706758" y="1441335"/>
                  </a:moveTo>
                  <a:lnTo>
                    <a:pt x="11705904" y="1435242"/>
                  </a:lnTo>
                  <a:cubicBezTo>
                    <a:pt x="11729911" y="1431994"/>
                    <a:pt x="11753673" y="1427151"/>
                    <a:pt x="11777070" y="1420741"/>
                  </a:cubicBezTo>
                  <a:lnTo>
                    <a:pt x="11778655" y="1426834"/>
                  </a:lnTo>
                  <a:cubicBezTo>
                    <a:pt x="11755075" y="1433304"/>
                    <a:pt x="11731068" y="1438148"/>
                    <a:pt x="11706819" y="1441335"/>
                  </a:cubicBezTo>
                  <a:close/>
                  <a:moveTo>
                    <a:pt x="11487838" y="1432013"/>
                  </a:moveTo>
                  <a:cubicBezTo>
                    <a:pt x="11464929" y="1427687"/>
                    <a:pt x="11440861" y="1422203"/>
                    <a:pt x="11416428" y="1415866"/>
                  </a:cubicBezTo>
                  <a:lnTo>
                    <a:pt x="11417951" y="1409773"/>
                  </a:lnTo>
                  <a:cubicBezTo>
                    <a:pt x="11442323" y="1415866"/>
                    <a:pt x="11466147" y="1421533"/>
                    <a:pt x="11488995" y="1425859"/>
                  </a:cubicBezTo>
                  <a:close/>
                  <a:moveTo>
                    <a:pt x="777339" y="1425920"/>
                  </a:moveTo>
                  <a:lnTo>
                    <a:pt x="773806" y="1420923"/>
                  </a:lnTo>
                  <a:cubicBezTo>
                    <a:pt x="793669" y="1406788"/>
                    <a:pt x="813897" y="1392652"/>
                    <a:pt x="833760" y="1378943"/>
                  </a:cubicBezTo>
                  <a:lnTo>
                    <a:pt x="837233" y="1383939"/>
                  </a:lnTo>
                  <a:cubicBezTo>
                    <a:pt x="817370" y="1397831"/>
                    <a:pt x="797203" y="1411906"/>
                    <a:pt x="777339" y="1426103"/>
                  </a:cubicBezTo>
                  <a:close/>
                  <a:moveTo>
                    <a:pt x="11848236" y="1402401"/>
                  </a:moveTo>
                  <a:lnTo>
                    <a:pt x="11845920" y="1396795"/>
                  </a:lnTo>
                  <a:cubicBezTo>
                    <a:pt x="11868282" y="1387394"/>
                    <a:pt x="11890155" y="1376859"/>
                    <a:pt x="11911481" y="1365234"/>
                  </a:cubicBezTo>
                  <a:lnTo>
                    <a:pt x="11914345" y="1370595"/>
                  </a:lnTo>
                  <a:cubicBezTo>
                    <a:pt x="11892776" y="1382404"/>
                    <a:pt x="11870658" y="1393085"/>
                    <a:pt x="11847993" y="1402583"/>
                  </a:cubicBezTo>
                  <a:close/>
                  <a:moveTo>
                    <a:pt x="11346359" y="1395272"/>
                  </a:moveTo>
                  <a:cubicBezTo>
                    <a:pt x="11324120" y="1388204"/>
                    <a:pt x="11300784" y="1380283"/>
                    <a:pt x="11277143" y="1371693"/>
                  </a:cubicBezTo>
                  <a:lnTo>
                    <a:pt x="11279215" y="1365965"/>
                  </a:lnTo>
                  <a:cubicBezTo>
                    <a:pt x="11302794" y="1374495"/>
                    <a:pt x="11326009" y="1382416"/>
                    <a:pt x="11348248" y="1389484"/>
                  </a:cubicBezTo>
                  <a:close/>
                  <a:moveTo>
                    <a:pt x="11208781" y="1345553"/>
                  </a:moveTo>
                  <a:cubicBezTo>
                    <a:pt x="11187150" y="1336902"/>
                    <a:pt x="11164424" y="1327275"/>
                    <a:pt x="11141271" y="1317465"/>
                  </a:cubicBezTo>
                  <a:lnTo>
                    <a:pt x="11143708" y="1311860"/>
                  </a:lnTo>
                  <a:cubicBezTo>
                    <a:pt x="11166800" y="1321852"/>
                    <a:pt x="11189466" y="1331296"/>
                    <a:pt x="11211096" y="1339887"/>
                  </a:cubicBezTo>
                  <a:close/>
                  <a:moveTo>
                    <a:pt x="897919" y="1343056"/>
                  </a:moveTo>
                  <a:lnTo>
                    <a:pt x="894568" y="1337998"/>
                  </a:lnTo>
                  <a:cubicBezTo>
                    <a:pt x="914918" y="1324411"/>
                    <a:pt x="935573" y="1310885"/>
                    <a:pt x="955802" y="1297846"/>
                  </a:cubicBezTo>
                  <a:lnTo>
                    <a:pt x="959092" y="1302964"/>
                  </a:lnTo>
                  <a:cubicBezTo>
                    <a:pt x="938681" y="1316003"/>
                    <a:pt x="918087" y="1329468"/>
                    <a:pt x="897919" y="1343056"/>
                  </a:cubicBezTo>
                  <a:close/>
                  <a:moveTo>
                    <a:pt x="11977346" y="1333490"/>
                  </a:moveTo>
                  <a:lnTo>
                    <a:pt x="11974116" y="1328310"/>
                  </a:lnTo>
                  <a:cubicBezTo>
                    <a:pt x="11992882" y="1316124"/>
                    <a:pt x="12012685" y="1303025"/>
                    <a:pt x="12034620" y="1287609"/>
                  </a:cubicBezTo>
                  <a:lnTo>
                    <a:pt x="12038153" y="1292606"/>
                  </a:lnTo>
                  <a:cubicBezTo>
                    <a:pt x="12015914" y="1308082"/>
                    <a:pt x="11996051" y="1321426"/>
                    <a:pt x="11977163" y="1333490"/>
                  </a:cubicBezTo>
                  <a:close/>
                  <a:moveTo>
                    <a:pt x="11074370" y="1287975"/>
                  </a:moveTo>
                  <a:cubicBezTo>
                    <a:pt x="11053044" y="1278287"/>
                    <a:pt x="11030806" y="1267868"/>
                    <a:pt x="11008139" y="1257023"/>
                  </a:cubicBezTo>
                  <a:lnTo>
                    <a:pt x="11010760" y="1251539"/>
                  </a:lnTo>
                  <a:cubicBezTo>
                    <a:pt x="11033364" y="1262324"/>
                    <a:pt x="11055604" y="1272743"/>
                    <a:pt x="11076929" y="1282431"/>
                  </a:cubicBezTo>
                  <a:close/>
                  <a:moveTo>
                    <a:pt x="1020997" y="1263603"/>
                  </a:moveTo>
                  <a:lnTo>
                    <a:pt x="1017767" y="1258424"/>
                  </a:lnTo>
                  <a:cubicBezTo>
                    <a:pt x="1038423" y="1245568"/>
                    <a:pt x="1059443" y="1232773"/>
                    <a:pt x="1080281" y="1220282"/>
                  </a:cubicBezTo>
                  <a:lnTo>
                    <a:pt x="1083449" y="1225522"/>
                  </a:lnTo>
                  <a:cubicBezTo>
                    <a:pt x="1062429" y="1238257"/>
                    <a:pt x="1041286" y="1250808"/>
                    <a:pt x="1020692" y="1263908"/>
                  </a:cubicBezTo>
                  <a:close/>
                  <a:moveTo>
                    <a:pt x="12097560" y="1249468"/>
                  </a:moveTo>
                  <a:lnTo>
                    <a:pt x="12093965" y="1244593"/>
                  </a:lnTo>
                  <a:cubicBezTo>
                    <a:pt x="12112975" y="1230579"/>
                    <a:pt x="12132411" y="1215957"/>
                    <a:pt x="12152518" y="1200907"/>
                  </a:cubicBezTo>
                  <a:lnTo>
                    <a:pt x="12156174" y="1205781"/>
                  </a:lnTo>
                  <a:cubicBezTo>
                    <a:pt x="12135763" y="1221135"/>
                    <a:pt x="12116265" y="1235759"/>
                    <a:pt x="12097255" y="1249772"/>
                  </a:cubicBezTo>
                  <a:close/>
                  <a:moveTo>
                    <a:pt x="10942519" y="1224730"/>
                  </a:moveTo>
                  <a:cubicBezTo>
                    <a:pt x="10921376" y="1214189"/>
                    <a:pt x="10899441" y="1203161"/>
                    <a:pt x="10877263" y="1191828"/>
                  </a:cubicBezTo>
                  <a:lnTo>
                    <a:pt x="10880005" y="1186345"/>
                  </a:lnTo>
                  <a:cubicBezTo>
                    <a:pt x="10902183" y="1197678"/>
                    <a:pt x="10924118" y="1208767"/>
                    <a:pt x="10945260" y="1219247"/>
                  </a:cubicBezTo>
                  <a:close/>
                  <a:moveTo>
                    <a:pt x="1146207" y="1188843"/>
                  </a:moveTo>
                  <a:lnTo>
                    <a:pt x="1143160" y="1183603"/>
                  </a:lnTo>
                  <a:cubicBezTo>
                    <a:pt x="1164547" y="1171417"/>
                    <a:pt x="1185811" y="1159231"/>
                    <a:pt x="1207015" y="1147715"/>
                  </a:cubicBezTo>
                  <a:lnTo>
                    <a:pt x="1209939" y="1153077"/>
                  </a:lnTo>
                  <a:cubicBezTo>
                    <a:pt x="1188979" y="1164593"/>
                    <a:pt x="1167532" y="1176657"/>
                    <a:pt x="1146207" y="1188843"/>
                  </a:cubicBezTo>
                  <a:close/>
                  <a:moveTo>
                    <a:pt x="10812068" y="1158378"/>
                  </a:moveTo>
                  <a:cubicBezTo>
                    <a:pt x="10790986" y="1147332"/>
                    <a:pt x="10769479" y="1135895"/>
                    <a:pt x="10747483" y="1124075"/>
                  </a:cubicBezTo>
                  <a:lnTo>
                    <a:pt x="10750347" y="1118713"/>
                  </a:lnTo>
                  <a:cubicBezTo>
                    <a:pt x="10772342" y="1130533"/>
                    <a:pt x="10793790" y="1141927"/>
                    <a:pt x="10814871" y="1153016"/>
                  </a:cubicBezTo>
                  <a:close/>
                  <a:moveTo>
                    <a:pt x="4881736" y="1138881"/>
                  </a:moveTo>
                  <a:cubicBezTo>
                    <a:pt x="4868880" y="1138881"/>
                    <a:pt x="4855963" y="1138881"/>
                    <a:pt x="4843107" y="1138881"/>
                  </a:cubicBezTo>
                  <a:lnTo>
                    <a:pt x="4843107" y="1132788"/>
                  </a:lnTo>
                  <a:lnTo>
                    <a:pt x="4881675" y="1132788"/>
                  </a:lnTo>
                  <a:lnTo>
                    <a:pt x="4916283" y="1132788"/>
                  </a:lnTo>
                  <a:lnTo>
                    <a:pt x="4916283" y="1138881"/>
                  </a:lnTo>
                  <a:close/>
                  <a:moveTo>
                    <a:pt x="4989642" y="1137723"/>
                  </a:moveTo>
                  <a:lnTo>
                    <a:pt x="4989642" y="1131630"/>
                  </a:lnTo>
                  <a:cubicBezTo>
                    <a:pt x="5014014" y="1131081"/>
                    <a:pt x="5038690" y="1130350"/>
                    <a:pt x="5062758" y="1129437"/>
                  </a:cubicBezTo>
                  <a:lnTo>
                    <a:pt x="5062758" y="1135530"/>
                  </a:lnTo>
                  <a:cubicBezTo>
                    <a:pt x="5038751" y="1136504"/>
                    <a:pt x="5014136" y="1137235"/>
                    <a:pt x="4989642" y="1137784"/>
                  </a:cubicBezTo>
                  <a:close/>
                  <a:moveTo>
                    <a:pt x="4769869" y="1137723"/>
                  </a:moveTo>
                  <a:cubicBezTo>
                    <a:pt x="4745497" y="1137174"/>
                    <a:pt x="4721126" y="1136504"/>
                    <a:pt x="4696754" y="1135651"/>
                  </a:cubicBezTo>
                  <a:lnTo>
                    <a:pt x="4696754" y="1129558"/>
                  </a:lnTo>
                  <a:cubicBezTo>
                    <a:pt x="4721126" y="1130411"/>
                    <a:pt x="4745497" y="1131081"/>
                    <a:pt x="4769869" y="1131630"/>
                  </a:cubicBezTo>
                  <a:close/>
                  <a:moveTo>
                    <a:pt x="4623638" y="1132605"/>
                  </a:moveTo>
                  <a:cubicBezTo>
                    <a:pt x="4599754" y="1131447"/>
                    <a:pt x="4574895" y="1130107"/>
                    <a:pt x="4550523" y="1128644"/>
                  </a:cubicBezTo>
                  <a:lnTo>
                    <a:pt x="4550888" y="1122552"/>
                  </a:lnTo>
                  <a:cubicBezTo>
                    <a:pt x="4575260" y="1124075"/>
                    <a:pt x="4600059" y="1125354"/>
                    <a:pt x="4624004" y="1126512"/>
                  </a:cubicBezTo>
                  <a:close/>
                  <a:moveTo>
                    <a:pt x="5135995" y="1132239"/>
                  </a:moveTo>
                  <a:lnTo>
                    <a:pt x="5135690" y="1126146"/>
                  </a:lnTo>
                  <a:cubicBezTo>
                    <a:pt x="5160062" y="1124806"/>
                    <a:pt x="5184434" y="1123283"/>
                    <a:pt x="5208806" y="1121576"/>
                  </a:cubicBezTo>
                  <a:lnTo>
                    <a:pt x="5209232" y="1127669"/>
                  </a:lnTo>
                  <a:cubicBezTo>
                    <a:pt x="5184861" y="1129376"/>
                    <a:pt x="5160245" y="1130899"/>
                    <a:pt x="5135995" y="1132239"/>
                  </a:cubicBezTo>
                  <a:close/>
                  <a:moveTo>
                    <a:pt x="4477590" y="1123831"/>
                  </a:moveTo>
                  <a:cubicBezTo>
                    <a:pt x="4453219" y="1122064"/>
                    <a:pt x="4428847" y="1120175"/>
                    <a:pt x="4404475" y="1118164"/>
                  </a:cubicBezTo>
                  <a:lnTo>
                    <a:pt x="4405023" y="1112071"/>
                  </a:lnTo>
                  <a:cubicBezTo>
                    <a:pt x="4429395" y="1114082"/>
                    <a:pt x="4453767" y="1116032"/>
                    <a:pt x="4478139" y="1117738"/>
                  </a:cubicBezTo>
                  <a:close/>
                  <a:moveTo>
                    <a:pt x="5281860" y="1121820"/>
                  </a:moveTo>
                  <a:lnTo>
                    <a:pt x="5281312" y="1115727"/>
                  </a:lnTo>
                  <a:cubicBezTo>
                    <a:pt x="5305684" y="1113595"/>
                    <a:pt x="5330055" y="1111219"/>
                    <a:pt x="5354062" y="1108659"/>
                  </a:cubicBezTo>
                  <a:lnTo>
                    <a:pt x="5354732" y="1114752"/>
                  </a:lnTo>
                  <a:cubicBezTo>
                    <a:pt x="5331152" y="1117251"/>
                    <a:pt x="5306659" y="1119627"/>
                    <a:pt x="5282165" y="1121820"/>
                  </a:cubicBezTo>
                  <a:close/>
                  <a:moveTo>
                    <a:pt x="1274037" y="1118469"/>
                  </a:moveTo>
                  <a:lnTo>
                    <a:pt x="1271234" y="1113047"/>
                  </a:lnTo>
                  <a:cubicBezTo>
                    <a:pt x="1292925" y="1101653"/>
                    <a:pt x="1314860" y="1090442"/>
                    <a:pt x="1336368" y="1079718"/>
                  </a:cubicBezTo>
                  <a:lnTo>
                    <a:pt x="1339110" y="1085141"/>
                  </a:lnTo>
                  <a:cubicBezTo>
                    <a:pt x="1317906" y="1095864"/>
                    <a:pt x="1296033" y="1107075"/>
                    <a:pt x="1274342" y="1118469"/>
                  </a:cubicBezTo>
                  <a:close/>
                  <a:moveTo>
                    <a:pt x="4331482" y="1111645"/>
                  </a:moveTo>
                  <a:cubicBezTo>
                    <a:pt x="4307110" y="1109409"/>
                    <a:pt x="4282860" y="1106996"/>
                    <a:pt x="4258732" y="1104394"/>
                  </a:cubicBezTo>
                  <a:lnTo>
                    <a:pt x="4259341" y="1098301"/>
                  </a:lnTo>
                  <a:cubicBezTo>
                    <a:pt x="4283713" y="1100861"/>
                    <a:pt x="4307962" y="1103279"/>
                    <a:pt x="4332091" y="1105552"/>
                  </a:cubicBezTo>
                  <a:close/>
                  <a:moveTo>
                    <a:pt x="5427482" y="1106222"/>
                  </a:moveTo>
                  <a:lnTo>
                    <a:pt x="5426751" y="1100130"/>
                  </a:lnTo>
                  <a:cubicBezTo>
                    <a:pt x="5451122" y="1097083"/>
                    <a:pt x="5475494" y="1094037"/>
                    <a:pt x="5499196" y="1090320"/>
                  </a:cubicBezTo>
                  <a:lnTo>
                    <a:pt x="5500049" y="1096413"/>
                  </a:lnTo>
                  <a:cubicBezTo>
                    <a:pt x="5476530" y="1099886"/>
                    <a:pt x="5452158" y="1103176"/>
                    <a:pt x="5427787" y="1106222"/>
                  </a:cubicBezTo>
                  <a:close/>
                  <a:moveTo>
                    <a:pt x="4186042" y="1096352"/>
                  </a:moveTo>
                  <a:cubicBezTo>
                    <a:pt x="4161670" y="1093628"/>
                    <a:pt x="4137463" y="1090728"/>
                    <a:pt x="4113414" y="1087639"/>
                  </a:cubicBezTo>
                  <a:lnTo>
                    <a:pt x="4114145" y="1081546"/>
                  </a:lnTo>
                  <a:cubicBezTo>
                    <a:pt x="4138517" y="1084592"/>
                    <a:pt x="4162707" y="1087499"/>
                    <a:pt x="4186713" y="1090259"/>
                  </a:cubicBezTo>
                  <a:close/>
                  <a:moveTo>
                    <a:pt x="10683202" y="1089345"/>
                  </a:moveTo>
                  <a:cubicBezTo>
                    <a:pt x="10662243" y="1077890"/>
                    <a:pt x="10640918" y="1066131"/>
                    <a:pt x="10619165" y="1054067"/>
                  </a:cubicBezTo>
                  <a:lnTo>
                    <a:pt x="10622151" y="1048705"/>
                  </a:lnTo>
                  <a:cubicBezTo>
                    <a:pt x="10643842" y="1060891"/>
                    <a:pt x="10665167" y="1072650"/>
                    <a:pt x="10686127" y="1083983"/>
                  </a:cubicBezTo>
                  <a:close/>
                  <a:moveTo>
                    <a:pt x="5572738" y="1085141"/>
                  </a:moveTo>
                  <a:lnTo>
                    <a:pt x="5571702" y="1079048"/>
                  </a:lnTo>
                  <a:cubicBezTo>
                    <a:pt x="5596074" y="1075027"/>
                    <a:pt x="5620080" y="1070761"/>
                    <a:pt x="5643721" y="1066313"/>
                  </a:cubicBezTo>
                  <a:lnTo>
                    <a:pt x="5644818" y="1072406"/>
                  </a:lnTo>
                  <a:cubicBezTo>
                    <a:pt x="5621177" y="1076854"/>
                    <a:pt x="5596927" y="1081120"/>
                    <a:pt x="5572738" y="1085141"/>
                  </a:cubicBezTo>
                  <a:close/>
                  <a:moveTo>
                    <a:pt x="4041152" y="1078256"/>
                  </a:moveTo>
                  <a:cubicBezTo>
                    <a:pt x="4017268" y="1075045"/>
                    <a:pt x="3993140" y="1071633"/>
                    <a:pt x="3968768" y="1068020"/>
                  </a:cubicBezTo>
                  <a:lnTo>
                    <a:pt x="3969621" y="1061927"/>
                  </a:lnTo>
                  <a:cubicBezTo>
                    <a:pt x="3993993" y="1065418"/>
                    <a:pt x="4018120" y="1068769"/>
                    <a:pt x="4042005" y="1071980"/>
                  </a:cubicBezTo>
                  <a:close/>
                  <a:moveTo>
                    <a:pt x="5716714" y="1058271"/>
                  </a:moveTo>
                  <a:lnTo>
                    <a:pt x="5715496" y="1052178"/>
                  </a:lnTo>
                  <a:cubicBezTo>
                    <a:pt x="5739319" y="1047182"/>
                    <a:pt x="5763326" y="1041881"/>
                    <a:pt x="5786844" y="1036458"/>
                  </a:cubicBezTo>
                  <a:lnTo>
                    <a:pt x="5788246" y="1042551"/>
                  </a:lnTo>
                  <a:cubicBezTo>
                    <a:pt x="5764605" y="1047974"/>
                    <a:pt x="5740538" y="1053275"/>
                    <a:pt x="5716653" y="1058271"/>
                  </a:cubicBezTo>
                  <a:close/>
                  <a:moveTo>
                    <a:pt x="3896383" y="1057540"/>
                  </a:moveTo>
                  <a:cubicBezTo>
                    <a:pt x="3872377" y="1053884"/>
                    <a:pt x="3848292" y="1050124"/>
                    <a:pt x="3824121" y="1046268"/>
                  </a:cubicBezTo>
                  <a:lnTo>
                    <a:pt x="3825096" y="1040175"/>
                  </a:lnTo>
                  <a:cubicBezTo>
                    <a:pt x="3849224" y="1044239"/>
                    <a:pt x="3873291" y="1047992"/>
                    <a:pt x="3897297" y="1051447"/>
                  </a:cubicBezTo>
                  <a:close/>
                  <a:moveTo>
                    <a:pt x="1405218" y="1053153"/>
                  </a:moveTo>
                  <a:lnTo>
                    <a:pt x="1402598" y="1047669"/>
                  </a:lnTo>
                  <a:cubicBezTo>
                    <a:pt x="1424655" y="1037189"/>
                    <a:pt x="1446955" y="1026892"/>
                    <a:pt x="1468890" y="1017204"/>
                  </a:cubicBezTo>
                  <a:lnTo>
                    <a:pt x="1471388" y="1022810"/>
                  </a:lnTo>
                  <a:cubicBezTo>
                    <a:pt x="1449453" y="1032436"/>
                    <a:pt x="1427153" y="1042734"/>
                    <a:pt x="1405157" y="1053153"/>
                  </a:cubicBezTo>
                  <a:close/>
                  <a:moveTo>
                    <a:pt x="3751980" y="1034447"/>
                  </a:moveTo>
                  <a:cubicBezTo>
                    <a:pt x="3727974" y="1030383"/>
                    <a:pt x="3703950" y="1026325"/>
                    <a:pt x="3679901" y="1022261"/>
                  </a:cubicBezTo>
                  <a:lnTo>
                    <a:pt x="3680937" y="1016168"/>
                  </a:lnTo>
                  <a:cubicBezTo>
                    <a:pt x="3705022" y="1020232"/>
                    <a:pt x="3729028" y="1024290"/>
                    <a:pt x="3752955" y="1028354"/>
                  </a:cubicBezTo>
                  <a:close/>
                  <a:moveTo>
                    <a:pt x="5859290" y="1025369"/>
                  </a:moveTo>
                  <a:lnTo>
                    <a:pt x="5857766" y="1019276"/>
                  </a:lnTo>
                  <a:cubicBezTo>
                    <a:pt x="5881407" y="1013183"/>
                    <a:pt x="5905169" y="1007090"/>
                    <a:pt x="5928384" y="1000448"/>
                  </a:cubicBezTo>
                  <a:lnTo>
                    <a:pt x="5930029" y="1006541"/>
                  </a:lnTo>
                  <a:cubicBezTo>
                    <a:pt x="5906754" y="1013183"/>
                    <a:pt x="5882991" y="1019276"/>
                    <a:pt x="5859290" y="1025369"/>
                  </a:cubicBezTo>
                  <a:close/>
                  <a:moveTo>
                    <a:pt x="10555250" y="1018301"/>
                  </a:moveTo>
                  <a:cubicBezTo>
                    <a:pt x="10534412" y="1006602"/>
                    <a:pt x="10513209" y="994538"/>
                    <a:pt x="10491640" y="982292"/>
                  </a:cubicBezTo>
                  <a:lnTo>
                    <a:pt x="10494687" y="976991"/>
                  </a:lnTo>
                  <a:lnTo>
                    <a:pt x="10558236" y="1013000"/>
                  </a:lnTo>
                  <a:close/>
                  <a:moveTo>
                    <a:pt x="3607821" y="1009222"/>
                  </a:moveTo>
                  <a:cubicBezTo>
                    <a:pt x="3583937" y="1004878"/>
                    <a:pt x="3559973" y="1000430"/>
                    <a:pt x="3535924" y="995879"/>
                  </a:cubicBezTo>
                  <a:lnTo>
                    <a:pt x="3537021" y="989786"/>
                  </a:lnTo>
                  <a:lnTo>
                    <a:pt x="3608918" y="1003129"/>
                  </a:lnTo>
                  <a:close/>
                  <a:moveTo>
                    <a:pt x="1538228" y="993624"/>
                  </a:moveTo>
                  <a:lnTo>
                    <a:pt x="1535912" y="988019"/>
                  </a:lnTo>
                  <a:cubicBezTo>
                    <a:pt x="1558334" y="978575"/>
                    <a:pt x="1581122" y="969314"/>
                    <a:pt x="1603666" y="960479"/>
                  </a:cubicBezTo>
                  <a:lnTo>
                    <a:pt x="1605859" y="966206"/>
                  </a:lnTo>
                  <a:cubicBezTo>
                    <a:pt x="1583376" y="974980"/>
                    <a:pt x="1560650" y="984241"/>
                    <a:pt x="1538228" y="993624"/>
                  </a:cubicBezTo>
                  <a:close/>
                  <a:moveTo>
                    <a:pt x="6000280" y="985948"/>
                  </a:moveTo>
                  <a:lnTo>
                    <a:pt x="5998513" y="979855"/>
                  </a:lnTo>
                  <a:cubicBezTo>
                    <a:pt x="6021850" y="972787"/>
                    <a:pt x="6045307" y="965353"/>
                    <a:pt x="6068156" y="957859"/>
                  </a:cubicBezTo>
                  <a:lnTo>
                    <a:pt x="6070045" y="963586"/>
                  </a:lnTo>
                  <a:cubicBezTo>
                    <a:pt x="6047135" y="971385"/>
                    <a:pt x="6023677" y="978819"/>
                    <a:pt x="6000280" y="985948"/>
                  </a:cubicBezTo>
                  <a:close/>
                  <a:moveTo>
                    <a:pt x="3464088" y="982109"/>
                  </a:moveTo>
                  <a:lnTo>
                    <a:pt x="3392374" y="967851"/>
                  </a:lnTo>
                  <a:lnTo>
                    <a:pt x="3393593" y="961758"/>
                  </a:lnTo>
                  <a:cubicBezTo>
                    <a:pt x="3417520" y="966553"/>
                    <a:pt x="3441404" y="971282"/>
                    <a:pt x="3465246" y="975955"/>
                  </a:cubicBezTo>
                  <a:close/>
                  <a:moveTo>
                    <a:pt x="3320721" y="953167"/>
                  </a:moveTo>
                  <a:cubicBezTo>
                    <a:pt x="3296916" y="948250"/>
                    <a:pt x="3273056" y="943236"/>
                    <a:pt x="3249129" y="938118"/>
                  </a:cubicBezTo>
                  <a:lnTo>
                    <a:pt x="3250408" y="932025"/>
                  </a:lnTo>
                  <a:cubicBezTo>
                    <a:pt x="3274335" y="937064"/>
                    <a:pt x="3298177" y="942078"/>
                    <a:pt x="3321940" y="947075"/>
                  </a:cubicBezTo>
                  <a:close/>
                  <a:moveTo>
                    <a:pt x="10428395" y="946160"/>
                  </a:moveTo>
                  <a:cubicBezTo>
                    <a:pt x="10407618" y="933975"/>
                    <a:pt x="10386476" y="921789"/>
                    <a:pt x="10365090" y="909603"/>
                  </a:cubicBezTo>
                  <a:lnTo>
                    <a:pt x="10368197" y="904363"/>
                  </a:lnTo>
                  <a:cubicBezTo>
                    <a:pt x="10389583" y="916792"/>
                    <a:pt x="10410665" y="928978"/>
                    <a:pt x="10431442" y="940921"/>
                  </a:cubicBezTo>
                  <a:close/>
                  <a:moveTo>
                    <a:pt x="1674161" y="940372"/>
                  </a:moveTo>
                  <a:lnTo>
                    <a:pt x="1672090" y="934645"/>
                  </a:lnTo>
                  <a:cubicBezTo>
                    <a:pt x="1695121" y="926236"/>
                    <a:pt x="1718335" y="918133"/>
                    <a:pt x="1741184" y="910273"/>
                  </a:cubicBezTo>
                  <a:lnTo>
                    <a:pt x="1743134" y="916366"/>
                  </a:lnTo>
                  <a:cubicBezTo>
                    <a:pt x="1720468" y="923921"/>
                    <a:pt x="1697132" y="931964"/>
                    <a:pt x="1674161" y="940372"/>
                  </a:cubicBezTo>
                  <a:close/>
                  <a:moveTo>
                    <a:pt x="6139322" y="940372"/>
                  </a:moveTo>
                  <a:lnTo>
                    <a:pt x="6137250" y="934645"/>
                  </a:lnTo>
                  <a:cubicBezTo>
                    <a:pt x="6160038" y="926541"/>
                    <a:pt x="6183130" y="918011"/>
                    <a:pt x="6205735" y="909359"/>
                  </a:cubicBezTo>
                  <a:lnTo>
                    <a:pt x="6207928" y="915026"/>
                  </a:lnTo>
                  <a:cubicBezTo>
                    <a:pt x="6185263" y="923495"/>
                    <a:pt x="6162231" y="932025"/>
                    <a:pt x="6139322" y="940067"/>
                  </a:cubicBezTo>
                  <a:close/>
                  <a:moveTo>
                    <a:pt x="3177658" y="922885"/>
                  </a:moveTo>
                  <a:cubicBezTo>
                    <a:pt x="3153896" y="917725"/>
                    <a:pt x="3130091" y="912466"/>
                    <a:pt x="3106249" y="907105"/>
                  </a:cubicBezTo>
                  <a:lnTo>
                    <a:pt x="3107590" y="901012"/>
                  </a:lnTo>
                  <a:cubicBezTo>
                    <a:pt x="3131474" y="906373"/>
                    <a:pt x="3155279" y="911632"/>
                    <a:pt x="3178999" y="916792"/>
                  </a:cubicBezTo>
                  <a:close/>
                  <a:moveTo>
                    <a:pt x="1812837" y="894309"/>
                  </a:moveTo>
                  <a:lnTo>
                    <a:pt x="1811009" y="888216"/>
                  </a:lnTo>
                  <a:cubicBezTo>
                    <a:pt x="1834467" y="881149"/>
                    <a:pt x="1858169" y="874264"/>
                    <a:pt x="1881383" y="867927"/>
                  </a:cubicBezTo>
                  <a:lnTo>
                    <a:pt x="1883028" y="874020"/>
                  </a:lnTo>
                  <a:cubicBezTo>
                    <a:pt x="1859692" y="880174"/>
                    <a:pt x="1836234" y="886937"/>
                    <a:pt x="1812715" y="894066"/>
                  </a:cubicBezTo>
                  <a:close/>
                  <a:moveTo>
                    <a:pt x="3035084" y="890958"/>
                  </a:moveTo>
                  <a:lnTo>
                    <a:pt x="2963430" y="874264"/>
                  </a:lnTo>
                  <a:lnTo>
                    <a:pt x="2964832" y="868171"/>
                  </a:lnTo>
                  <a:lnTo>
                    <a:pt x="3036058" y="884622"/>
                  </a:lnTo>
                  <a:close/>
                  <a:moveTo>
                    <a:pt x="6276048" y="888034"/>
                  </a:moveTo>
                  <a:lnTo>
                    <a:pt x="6273732" y="882428"/>
                  </a:lnTo>
                  <a:cubicBezTo>
                    <a:pt x="6296276" y="873106"/>
                    <a:pt x="6318881" y="863479"/>
                    <a:pt x="6340755" y="853791"/>
                  </a:cubicBezTo>
                  <a:lnTo>
                    <a:pt x="6343192" y="859397"/>
                  </a:lnTo>
                  <a:cubicBezTo>
                    <a:pt x="6321196" y="868841"/>
                    <a:pt x="6298530" y="878468"/>
                    <a:pt x="6275926" y="887790"/>
                  </a:cubicBezTo>
                  <a:close/>
                  <a:moveTo>
                    <a:pt x="10302149" y="872557"/>
                  </a:moveTo>
                  <a:cubicBezTo>
                    <a:pt x="10281433" y="860372"/>
                    <a:pt x="10260412" y="848003"/>
                    <a:pt x="10239148" y="835452"/>
                  </a:cubicBezTo>
                  <a:lnTo>
                    <a:pt x="10242255" y="830211"/>
                  </a:lnTo>
                  <a:cubicBezTo>
                    <a:pt x="10263520" y="842842"/>
                    <a:pt x="10284480" y="855211"/>
                    <a:pt x="10305195" y="867318"/>
                  </a:cubicBezTo>
                  <a:close/>
                  <a:moveTo>
                    <a:pt x="2892326" y="857447"/>
                  </a:moveTo>
                  <a:lnTo>
                    <a:pt x="2831396" y="842824"/>
                  </a:lnTo>
                  <a:lnTo>
                    <a:pt x="2821282" y="840387"/>
                  </a:lnTo>
                  <a:lnTo>
                    <a:pt x="2822622" y="834294"/>
                  </a:lnTo>
                  <a:lnTo>
                    <a:pt x="2832858" y="836670"/>
                  </a:lnTo>
                  <a:lnTo>
                    <a:pt x="2893788" y="851354"/>
                  </a:lnTo>
                  <a:close/>
                  <a:moveTo>
                    <a:pt x="1953645" y="855680"/>
                  </a:moveTo>
                  <a:lnTo>
                    <a:pt x="1952183" y="849587"/>
                  </a:lnTo>
                  <a:cubicBezTo>
                    <a:pt x="1976006" y="843860"/>
                    <a:pt x="2000013" y="838498"/>
                    <a:pt x="2023653" y="833624"/>
                  </a:cubicBezTo>
                  <a:lnTo>
                    <a:pt x="2024872" y="839717"/>
                  </a:lnTo>
                  <a:cubicBezTo>
                    <a:pt x="2001292" y="844591"/>
                    <a:pt x="1977347" y="849953"/>
                    <a:pt x="1953645" y="855680"/>
                  </a:cubicBezTo>
                  <a:close/>
                  <a:moveTo>
                    <a:pt x="6409788" y="828871"/>
                  </a:moveTo>
                  <a:lnTo>
                    <a:pt x="6407168" y="823327"/>
                  </a:lnTo>
                  <a:cubicBezTo>
                    <a:pt x="6428067" y="813517"/>
                    <a:pt x="6449209" y="803281"/>
                    <a:pt x="6469925" y="792862"/>
                  </a:cubicBezTo>
                  <a:lnTo>
                    <a:pt x="6472911" y="791339"/>
                  </a:lnTo>
                  <a:lnTo>
                    <a:pt x="6475652" y="796761"/>
                  </a:lnTo>
                  <a:lnTo>
                    <a:pt x="6472606" y="798284"/>
                  </a:lnTo>
                  <a:cubicBezTo>
                    <a:pt x="6451890" y="808764"/>
                    <a:pt x="6430747" y="819000"/>
                    <a:pt x="6409788" y="828871"/>
                  </a:cubicBezTo>
                  <a:close/>
                  <a:moveTo>
                    <a:pt x="2096586" y="826008"/>
                  </a:moveTo>
                  <a:lnTo>
                    <a:pt x="2095550" y="819915"/>
                  </a:lnTo>
                  <a:cubicBezTo>
                    <a:pt x="2119617" y="815710"/>
                    <a:pt x="2143928" y="811932"/>
                    <a:pt x="2167813" y="808642"/>
                  </a:cubicBezTo>
                  <a:lnTo>
                    <a:pt x="2168666" y="814735"/>
                  </a:lnTo>
                  <a:cubicBezTo>
                    <a:pt x="2144842" y="818208"/>
                    <a:pt x="2120592" y="821864"/>
                    <a:pt x="2096586" y="826008"/>
                  </a:cubicBezTo>
                  <a:close/>
                  <a:moveTo>
                    <a:pt x="2749690" y="825337"/>
                  </a:moveTo>
                  <a:cubicBezTo>
                    <a:pt x="2725866" y="820828"/>
                    <a:pt x="2701677" y="816868"/>
                    <a:pt x="2677671" y="813151"/>
                  </a:cubicBezTo>
                  <a:lnTo>
                    <a:pt x="2678524" y="807058"/>
                  </a:lnTo>
                  <a:cubicBezTo>
                    <a:pt x="2702591" y="810531"/>
                    <a:pt x="2726902" y="814553"/>
                    <a:pt x="2750786" y="819244"/>
                  </a:cubicBezTo>
                  <a:close/>
                  <a:moveTo>
                    <a:pt x="2241050" y="806022"/>
                  </a:moveTo>
                  <a:lnTo>
                    <a:pt x="2240440" y="799930"/>
                  </a:lnTo>
                  <a:cubicBezTo>
                    <a:pt x="2264812" y="797492"/>
                    <a:pt x="2289184" y="795421"/>
                    <a:pt x="2313556" y="793837"/>
                  </a:cubicBezTo>
                  <a:lnTo>
                    <a:pt x="2313921" y="799930"/>
                  </a:lnTo>
                  <a:cubicBezTo>
                    <a:pt x="2289672" y="801636"/>
                    <a:pt x="2265239" y="803646"/>
                    <a:pt x="2241050" y="806022"/>
                  </a:cubicBezTo>
                  <a:close/>
                  <a:moveTo>
                    <a:pt x="2605226" y="804560"/>
                  </a:moveTo>
                  <a:cubicBezTo>
                    <a:pt x="2581219" y="802184"/>
                    <a:pt x="2556482" y="800295"/>
                    <a:pt x="2532476" y="798894"/>
                  </a:cubicBezTo>
                  <a:lnTo>
                    <a:pt x="2532841" y="792801"/>
                  </a:lnTo>
                  <a:cubicBezTo>
                    <a:pt x="2557213" y="794141"/>
                    <a:pt x="2581585" y="796030"/>
                    <a:pt x="2605957" y="798406"/>
                  </a:cubicBezTo>
                  <a:close/>
                  <a:moveTo>
                    <a:pt x="10176147" y="797797"/>
                  </a:moveTo>
                  <a:cubicBezTo>
                    <a:pt x="10155492" y="785611"/>
                    <a:pt x="10134593" y="773120"/>
                    <a:pt x="10113389" y="760325"/>
                  </a:cubicBezTo>
                  <a:lnTo>
                    <a:pt x="10116497" y="755085"/>
                  </a:lnTo>
                  <a:cubicBezTo>
                    <a:pt x="10137700" y="767838"/>
                    <a:pt x="10158599" y="780329"/>
                    <a:pt x="10179254" y="792557"/>
                  </a:cubicBezTo>
                  <a:close/>
                  <a:moveTo>
                    <a:pt x="2386550" y="796700"/>
                  </a:moveTo>
                  <a:lnTo>
                    <a:pt x="2386550" y="790607"/>
                  </a:lnTo>
                  <a:cubicBezTo>
                    <a:pt x="2410921" y="789998"/>
                    <a:pt x="2435293" y="789876"/>
                    <a:pt x="2459665" y="790242"/>
                  </a:cubicBezTo>
                  <a:lnTo>
                    <a:pt x="2459665" y="796335"/>
                  </a:lnTo>
                  <a:cubicBezTo>
                    <a:pt x="2435354" y="796091"/>
                    <a:pt x="2410921" y="796213"/>
                    <a:pt x="2386550" y="796822"/>
                  </a:cubicBezTo>
                  <a:close/>
                  <a:moveTo>
                    <a:pt x="6539994" y="762153"/>
                  </a:moveTo>
                  <a:lnTo>
                    <a:pt x="6536948" y="756852"/>
                  </a:lnTo>
                  <a:cubicBezTo>
                    <a:pt x="6556811" y="745519"/>
                    <a:pt x="6577892" y="732846"/>
                    <a:pt x="6599522" y="719259"/>
                  </a:cubicBezTo>
                  <a:lnTo>
                    <a:pt x="6602752" y="724438"/>
                  </a:lnTo>
                  <a:cubicBezTo>
                    <a:pt x="6581183" y="738025"/>
                    <a:pt x="6560040" y="750759"/>
                    <a:pt x="6539994" y="762153"/>
                  </a:cubicBezTo>
                  <a:close/>
                  <a:moveTo>
                    <a:pt x="10050571" y="722854"/>
                  </a:moveTo>
                  <a:lnTo>
                    <a:pt x="9987997" y="685077"/>
                  </a:lnTo>
                  <a:lnTo>
                    <a:pt x="9991165" y="679837"/>
                  </a:lnTo>
                  <a:cubicBezTo>
                    <a:pt x="10012246" y="692633"/>
                    <a:pt x="10033085" y="705227"/>
                    <a:pt x="10053739" y="717614"/>
                  </a:cubicBezTo>
                  <a:close/>
                  <a:moveTo>
                    <a:pt x="6664230" y="684590"/>
                  </a:moveTo>
                  <a:lnTo>
                    <a:pt x="6660817" y="679472"/>
                  </a:lnTo>
                  <a:cubicBezTo>
                    <a:pt x="6679584" y="666981"/>
                    <a:pt x="6699325" y="653516"/>
                    <a:pt x="6721199" y="638283"/>
                  </a:cubicBezTo>
                  <a:lnTo>
                    <a:pt x="6724672" y="643341"/>
                  </a:lnTo>
                  <a:cubicBezTo>
                    <a:pt x="6702920" y="658512"/>
                    <a:pt x="6683118" y="671977"/>
                    <a:pt x="6664352" y="684590"/>
                  </a:cubicBezTo>
                  <a:close/>
                  <a:moveTo>
                    <a:pt x="9925483" y="647118"/>
                  </a:moveTo>
                  <a:lnTo>
                    <a:pt x="9863030" y="609159"/>
                  </a:lnTo>
                  <a:lnTo>
                    <a:pt x="9866198" y="603919"/>
                  </a:lnTo>
                  <a:lnTo>
                    <a:pt x="9928651" y="641939"/>
                  </a:lnTo>
                  <a:close/>
                  <a:moveTo>
                    <a:pt x="6784504" y="601177"/>
                  </a:moveTo>
                  <a:lnTo>
                    <a:pt x="6780971" y="596242"/>
                  </a:lnTo>
                  <a:cubicBezTo>
                    <a:pt x="6800590" y="582289"/>
                    <a:pt x="6820392" y="568032"/>
                    <a:pt x="6840438" y="553591"/>
                  </a:cubicBezTo>
                  <a:lnTo>
                    <a:pt x="6843972" y="558527"/>
                  </a:lnTo>
                  <a:cubicBezTo>
                    <a:pt x="6824109" y="573028"/>
                    <a:pt x="6804307" y="587243"/>
                    <a:pt x="6784626" y="601177"/>
                  </a:cubicBezTo>
                  <a:close/>
                  <a:moveTo>
                    <a:pt x="9800516" y="571017"/>
                  </a:moveTo>
                  <a:lnTo>
                    <a:pt x="9738185" y="532814"/>
                  </a:lnTo>
                  <a:lnTo>
                    <a:pt x="9741415" y="527635"/>
                  </a:lnTo>
                  <a:lnTo>
                    <a:pt x="9803685" y="565838"/>
                  </a:lnTo>
                  <a:close/>
                  <a:moveTo>
                    <a:pt x="6903256" y="516181"/>
                  </a:moveTo>
                  <a:lnTo>
                    <a:pt x="6899722" y="511245"/>
                  </a:lnTo>
                  <a:cubicBezTo>
                    <a:pt x="6919342" y="497189"/>
                    <a:pt x="6939205" y="482974"/>
                    <a:pt x="6959311" y="468595"/>
                  </a:cubicBezTo>
                  <a:lnTo>
                    <a:pt x="6962784" y="473591"/>
                  </a:lnTo>
                  <a:cubicBezTo>
                    <a:pt x="6942982" y="487727"/>
                    <a:pt x="6923119" y="501923"/>
                    <a:pt x="6903500" y="515937"/>
                  </a:cubicBezTo>
                  <a:close/>
                  <a:moveTo>
                    <a:pt x="9675855" y="494916"/>
                  </a:moveTo>
                  <a:cubicBezTo>
                    <a:pt x="9654955" y="482243"/>
                    <a:pt x="9633813" y="469691"/>
                    <a:pt x="9613097" y="457505"/>
                  </a:cubicBezTo>
                  <a:lnTo>
                    <a:pt x="9616143" y="452266"/>
                  </a:lnTo>
                  <a:cubicBezTo>
                    <a:pt x="9636921" y="464451"/>
                    <a:pt x="9658063" y="477003"/>
                    <a:pt x="9679022" y="489676"/>
                  </a:cubicBezTo>
                  <a:close/>
                  <a:moveTo>
                    <a:pt x="7022678" y="431854"/>
                  </a:moveTo>
                  <a:lnTo>
                    <a:pt x="7019205" y="426858"/>
                  </a:lnTo>
                  <a:cubicBezTo>
                    <a:pt x="7040409" y="412235"/>
                    <a:pt x="7060150" y="398708"/>
                    <a:pt x="7079708" y="385670"/>
                  </a:cubicBezTo>
                  <a:lnTo>
                    <a:pt x="7083120" y="390727"/>
                  </a:lnTo>
                  <a:cubicBezTo>
                    <a:pt x="7063988" y="403522"/>
                    <a:pt x="7044064" y="416987"/>
                    <a:pt x="7022922" y="431610"/>
                  </a:cubicBezTo>
                  <a:close/>
                  <a:moveTo>
                    <a:pt x="9549913" y="420826"/>
                  </a:moveTo>
                  <a:cubicBezTo>
                    <a:pt x="9528710" y="408640"/>
                    <a:pt x="9507262" y="396941"/>
                    <a:pt x="9486059" y="385304"/>
                  </a:cubicBezTo>
                  <a:lnTo>
                    <a:pt x="9488922" y="380003"/>
                  </a:lnTo>
                  <a:cubicBezTo>
                    <a:pt x="9510187" y="391580"/>
                    <a:pt x="9531573" y="403522"/>
                    <a:pt x="9552899" y="415525"/>
                  </a:cubicBezTo>
                  <a:close/>
                  <a:moveTo>
                    <a:pt x="9421961" y="350879"/>
                  </a:moveTo>
                  <a:cubicBezTo>
                    <a:pt x="9400453" y="339546"/>
                    <a:pt x="9378579" y="328335"/>
                    <a:pt x="9357010" y="317489"/>
                  </a:cubicBezTo>
                  <a:lnTo>
                    <a:pt x="9359752" y="312067"/>
                  </a:lnTo>
                  <a:cubicBezTo>
                    <a:pt x="9381321" y="322912"/>
                    <a:pt x="9403256" y="334123"/>
                    <a:pt x="9424824" y="345456"/>
                  </a:cubicBezTo>
                  <a:close/>
                  <a:moveTo>
                    <a:pt x="7144659" y="350330"/>
                  </a:moveTo>
                  <a:lnTo>
                    <a:pt x="7141368" y="345212"/>
                  </a:lnTo>
                  <a:cubicBezTo>
                    <a:pt x="7162451" y="331686"/>
                    <a:pt x="7183288" y="318586"/>
                    <a:pt x="7203334" y="306278"/>
                  </a:cubicBezTo>
                  <a:lnTo>
                    <a:pt x="7206502" y="311457"/>
                  </a:lnTo>
                  <a:cubicBezTo>
                    <a:pt x="7186273" y="323765"/>
                    <a:pt x="7165436" y="336865"/>
                    <a:pt x="7144415" y="350330"/>
                  </a:cubicBezTo>
                  <a:close/>
                  <a:moveTo>
                    <a:pt x="9291450" y="285258"/>
                  </a:moveTo>
                  <a:cubicBezTo>
                    <a:pt x="9269393" y="274656"/>
                    <a:pt x="9247094" y="264237"/>
                    <a:pt x="9225280" y="254306"/>
                  </a:cubicBezTo>
                  <a:lnTo>
                    <a:pt x="9227840" y="248761"/>
                  </a:lnTo>
                  <a:cubicBezTo>
                    <a:pt x="9249652" y="258753"/>
                    <a:pt x="9271953" y="269172"/>
                    <a:pt x="9294070" y="279774"/>
                  </a:cubicBezTo>
                  <a:close/>
                  <a:moveTo>
                    <a:pt x="7269259" y="274108"/>
                  </a:moveTo>
                  <a:lnTo>
                    <a:pt x="7266213" y="268807"/>
                  </a:lnTo>
                  <a:cubicBezTo>
                    <a:pt x="7287599" y="256621"/>
                    <a:pt x="7308864" y="244435"/>
                    <a:pt x="7330068" y="233041"/>
                  </a:cubicBezTo>
                  <a:lnTo>
                    <a:pt x="7332992" y="238403"/>
                  </a:lnTo>
                  <a:cubicBezTo>
                    <a:pt x="7311789" y="249736"/>
                    <a:pt x="7290342" y="261739"/>
                    <a:pt x="7269016" y="274108"/>
                  </a:cubicBezTo>
                  <a:close/>
                  <a:moveTo>
                    <a:pt x="9158563" y="224633"/>
                  </a:moveTo>
                  <a:cubicBezTo>
                    <a:pt x="9136140" y="214945"/>
                    <a:pt x="9113475" y="205440"/>
                    <a:pt x="9091540" y="196361"/>
                  </a:cubicBezTo>
                  <a:lnTo>
                    <a:pt x="9093795" y="190695"/>
                  </a:lnTo>
                  <a:cubicBezTo>
                    <a:pt x="9116095" y="199774"/>
                    <a:pt x="9138822" y="209340"/>
                    <a:pt x="9161304" y="219027"/>
                  </a:cubicBezTo>
                  <a:close/>
                  <a:moveTo>
                    <a:pt x="7397699" y="204587"/>
                  </a:moveTo>
                  <a:lnTo>
                    <a:pt x="7394957" y="199164"/>
                  </a:lnTo>
                  <a:cubicBezTo>
                    <a:pt x="7416953" y="188136"/>
                    <a:pt x="7439131" y="177473"/>
                    <a:pt x="7460944" y="167420"/>
                  </a:cubicBezTo>
                  <a:lnTo>
                    <a:pt x="7463443" y="172965"/>
                  </a:lnTo>
                  <a:cubicBezTo>
                    <a:pt x="7441751" y="182957"/>
                    <a:pt x="7419390" y="193620"/>
                    <a:pt x="7397455" y="204587"/>
                  </a:cubicBezTo>
                  <a:close/>
                  <a:moveTo>
                    <a:pt x="9023299" y="169613"/>
                  </a:moveTo>
                  <a:cubicBezTo>
                    <a:pt x="9000450" y="160900"/>
                    <a:pt x="8977358" y="152431"/>
                    <a:pt x="8954693" y="144389"/>
                  </a:cubicBezTo>
                  <a:lnTo>
                    <a:pt x="8956764" y="138661"/>
                  </a:lnTo>
                  <a:cubicBezTo>
                    <a:pt x="8979430" y="146704"/>
                    <a:pt x="9002522" y="155173"/>
                    <a:pt x="9025432" y="163886"/>
                  </a:cubicBezTo>
                  <a:close/>
                  <a:moveTo>
                    <a:pt x="7530525" y="143596"/>
                  </a:moveTo>
                  <a:lnTo>
                    <a:pt x="7528150" y="137991"/>
                  </a:lnTo>
                  <a:cubicBezTo>
                    <a:pt x="7550754" y="128547"/>
                    <a:pt x="7573603" y="119712"/>
                    <a:pt x="7596208" y="111060"/>
                  </a:cubicBezTo>
                  <a:lnTo>
                    <a:pt x="7598340" y="116727"/>
                  </a:lnTo>
                  <a:cubicBezTo>
                    <a:pt x="7575370" y="125135"/>
                    <a:pt x="7552522" y="134213"/>
                    <a:pt x="7530038" y="143596"/>
                  </a:cubicBezTo>
                  <a:close/>
                  <a:moveTo>
                    <a:pt x="8885842" y="120931"/>
                  </a:moveTo>
                  <a:cubicBezTo>
                    <a:pt x="8862567" y="113375"/>
                    <a:pt x="8839109" y="106064"/>
                    <a:pt x="8816078" y="99240"/>
                  </a:cubicBezTo>
                  <a:lnTo>
                    <a:pt x="8817844" y="93147"/>
                  </a:lnTo>
                  <a:cubicBezTo>
                    <a:pt x="8840876" y="99971"/>
                    <a:pt x="8864395" y="107283"/>
                    <a:pt x="8887730" y="114899"/>
                  </a:cubicBezTo>
                  <a:close/>
                  <a:moveTo>
                    <a:pt x="7667252" y="92538"/>
                  </a:moveTo>
                  <a:lnTo>
                    <a:pt x="7665362" y="86749"/>
                  </a:lnTo>
                  <a:cubicBezTo>
                    <a:pt x="7688516" y="79133"/>
                    <a:pt x="7712035" y="71943"/>
                    <a:pt x="7735310" y="65302"/>
                  </a:cubicBezTo>
                  <a:lnTo>
                    <a:pt x="7737016" y="71395"/>
                  </a:lnTo>
                  <a:cubicBezTo>
                    <a:pt x="7713254" y="77732"/>
                    <a:pt x="7689795" y="84921"/>
                    <a:pt x="7666703" y="92538"/>
                  </a:cubicBezTo>
                  <a:close/>
                  <a:moveTo>
                    <a:pt x="8745704" y="79499"/>
                  </a:moveTo>
                  <a:cubicBezTo>
                    <a:pt x="8722063" y="73406"/>
                    <a:pt x="8698240" y="67313"/>
                    <a:pt x="8674843" y="61829"/>
                  </a:cubicBezTo>
                  <a:lnTo>
                    <a:pt x="8676244" y="55736"/>
                  </a:lnTo>
                  <a:cubicBezTo>
                    <a:pt x="8699641" y="61220"/>
                    <a:pt x="8723526" y="67191"/>
                    <a:pt x="8747227" y="73467"/>
                  </a:cubicBezTo>
                  <a:close/>
                  <a:moveTo>
                    <a:pt x="7807390" y="52690"/>
                  </a:moveTo>
                  <a:lnTo>
                    <a:pt x="7805927" y="46597"/>
                  </a:lnTo>
                  <a:cubicBezTo>
                    <a:pt x="7829629" y="40930"/>
                    <a:pt x="7853696" y="35690"/>
                    <a:pt x="7877459" y="31060"/>
                  </a:cubicBezTo>
                  <a:lnTo>
                    <a:pt x="7878616" y="37153"/>
                  </a:lnTo>
                  <a:cubicBezTo>
                    <a:pt x="7854610" y="41844"/>
                    <a:pt x="7830603" y="47023"/>
                    <a:pt x="7807329" y="52690"/>
                  </a:cubicBezTo>
                  <a:close/>
                  <a:moveTo>
                    <a:pt x="8603556" y="46292"/>
                  </a:moveTo>
                  <a:cubicBezTo>
                    <a:pt x="8579610" y="41479"/>
                    <a:pt x="8555482" y="37031"/>
                    <a:pt x="8531720" y="33070"/>
                  </a:cubicBezTo>
                  <a:lnTo>
                    <a:pt x="8532756" y="26977"/>
                  </a:lnTo>
                  <a:cubicBezTo>
                    <a:pt x="8556518" y="30938"/>
                    <a:pt x="8580767" y="35386"/>
                    <a:pt x="8604713" y="40199"/>
                  </a:cubicBezTo>
                  <a:close/>
                  <a:moveTo>
                    <a:pt x="7950513" y="24784"/>
                  </a:moveTo>
                  <a:lnTo>
                    <a:pt x="7949599" y="18691"/>
                  </a:lnTo>
                  <a:cubicBezTo>
                    <a:pt x="7973605" y="15035"/>
                    <a:pt x="7998343" y="11928"/>
                    <a:pt x="8022166" y="9308"/>
                  </a:cubicBezTo>
                  <a:lnTo>
                    <a:pt x="8022836" y="15401"/>
                  </a:lnTo>
                  <a:cubicBezTo>
                    <a:pt x="7998403" y="18082"/>
                    <a:pt x="7974093" y="21189"/>
                    <a:pt x="7950147" y="24784"/>
                  </a:cubicBezTo>
                  <a:close/>
                  <a:moveTo>
                    <a:pt x="8459518" y="22286"/>
                  </a:moveTo>
                  <a:cubicBezTo>
                    <a:pt x="8435146" y="19117"/>
                    <a:pt x="8410775" y="16193"/>
                    <a:pt x="8387012" y="14121"/>
                  </a:cubicBezTo>
                  <a:lnTo>
                    <a:pt x="8387621" y="8028"/>
                  </a:lnTo>
                  <a:cubicBezTo>
                    <a:pt x="8411567" y="10283"/>
                    <a:pt x="8436365" y="13085"/>
                    <a:pt x="8460310" y="16254"/>
                  </a:cubicBezTo>
                  <a:close/>
                  <a:moveTo>
                    <a:pt x="8095465" y="9247"/>
                  </a:moveTo>
                  <a:lnTo>
                    <a:pt x="8095099" y="3154"/>
                  </a:lnTo>
                  <a:cubicBezTo>
                    <a:pt x="8119166" y="1631"/>
                    <a:pt x="8143842" y="534"/>
                    <a:pt x="8168214" y="-14"/>
                  </a:cubicBezTo>
                  <a:lnTo>
                    <a:pt x="8168214" y="6078"/>
                  </a:lnTo>
                  <a:cubicBezTo>
                    <a:pt x="8143659" y="6627"/>
                    <a:pt x="8119105" y="7845"/>
                    <a:pt x="8095099" y="9247"/>
                  </a:cubicBezTo>
                  <a:close/>
                  <a:moveTo>
                    <a:pt x="8314262" y="8577"/>
                  </a:moveTo>
                  <a:cubicBezTo>
                    <a:pt x="8289890" y="7236"/>
                    <a:pt x="8265518" y="6322"/>
                    <a:pt x="8241147" y="5896"/>
                  </a:cubicBezTo>
                  <a:lnTo>
                    <a:pt x="8241147" y="-197"/>
                  </a:lnTo>
                  <a:cubicBezTo>
                    <a:pt x="8265518" y="229"/>
                    <a:pt x="8289890" y="1143"/>
                    <a:pt x="8314262" y="2484"/>
                  </a:cubicBezTo>
                  <a:close/>
                </a:path>
              </a:pathLst>
            </a:custGeom>
            <a:solidFill>
              <a:schemeClr val="bg1"/>
            </a:solidFill>
            <a:ln w="6093" cap="flat">
              <a:noFill/>
              <a:prstDash val="solid"/>
              <a:miter/>
            </a:ln>
          </p:spPr>
          <p:txBody>
            <a:bodyPr rtlCol="0" anchor="ctr"/>
            <a:lstStyle/>
            <a:p>
              <a:endParaRPr lang="en-US"/>
            </a:p>
          </p:txBody>
        </p:sp>
      </p:grpSp>
      <p:sp>
        <p:nvSpPr>
          <p:cNvPr id="10" name="Title 2">
            <a:extLst>
              <a:ext uri="{FF2B5EF4-FFF2-40B4-BE49-F238E27FC236}">
                <a16:creationId xmlns:a16="http://schemas.microsoft.com/office/drawing/2014/main" id="{38FA7265-4C00-7624-6B55-7AC2E86B7BDE}"/>
              </a:ext>
            </a:extLst>
          </p:cNvPr>
          <p:cNvSpPr txBox="1">
            <a:spLocks/>
          </p:cNvSpPr>
          <p:nvPr/>
        </p:nvSpPr>
        <p:spPr>
          <a:xfrm>
            <a:off x="3839213" y="4395185"/>
            <a:ext cx="4513571" cy="1831106"/>
          </a:xfrm>
          <a:prstGeom prst="rect">
            <a:avLst/>
          </a:prstGeom>
        </p:spPr>
        <p:txBody>
          <a:bodyPr vert="horz" lIns="91440" tIns="45720" rIns="91440" bIns="45720" rtlCol="0" anchor="t">
            <a:normAutofit fontScale="97500"/>
          </a:bodyPr>
          <a:lstStyle>
            <a:lvl1pPr algn="ctr" defTabSz="457200" rtl="0" eaLnBrk="1" latinLnBrk="0" hangingPunct="1">
              <a:spcBef>
                <a:spcPct val="0"/>
              </a:spcBef>
              <a:buNone/>
              <a:defRPr sz="2800" b="1" kern="1200">
                <a:solidFill>
                  <a:srgbClr val="FFFFFF"/>
                </a:solidFill>
                <a:latin typeface="Century Gothic" panose="020B0502020202020204" pitchFamily="34" charset="0"/>
                <a:ea typeface="+mj-ea"/>
                <a:cs typeface="Arial"/>
              </a:defRPr>
            </a:lvl1pPr>
          </a:lstStyle>
          <a:p>
            <a:r>
              <a:rPr lang="en-US" sz="2500" b="1" i="0" dirty="0">
                <a:solidFill>
                  <a:schemeClr val="bg1"/>
                </a:solidFill>
                <a:effectLst/>
                <a:latin typeface="Noah W05 Regular"/>
              </a:rPr>
              <a:t>Jessica Justman, MD,</a:t>
            </a:r>
          </a:p>
          <a:p>
            <a:r>
              <a:rPr lang="en-US" sz="1800" b="1" i="0" dirty="0">
                <a:solidFill>
                  <a:schemeClr val="bg1"/>
                </a:solidFill>
                <a:effectLst/>
                <a:latin typeface="Noah W05 Regular"/>
              </a:rPr>
              <a:t>Senior Technical Director,</a:t>
            </a:r>
          </a:p>
          <a:p>
            <a:r>
              <a:rPr lang="en-US" sz="1800" b="1" i="0" dirty="0">
                <a:solidFill>
                  <a:schemeClr val="bg1"/>
                </a:solidFill>
                <a:effectLst/>
                <a:latin typeface="Noah W05 Regular"/>
              </a:rPr>
              <a:t>ICAP at Columbia University</a:t>
            </a:r>
            <a:endParaRPr lang="en-US" sz="1800" i="0" dirty="0">
              <a:solidFill>
                <a:schemeClr val="bg1"/>
              </a:solidFill>
              <a:effectLst/>
              <a:latin typeface="+mn-lt"/>
            </a:endParaRPr>
          </a:p>
        </p:txBody>
      </p:sp>
      <p:pic>
        <p:nvPicPr>
          <p:cNvPr id="11" name="Picture Placeholder 6">
            <a:extLst>
              <a:ext uri="{FF2B5EF4-FFF2-40B4-BE49-F238E27FC236}">
                <a16:creationId xmlns:a16="http://schemas.microsoft.com/office/drawing/2014/main" id="{FAC4DBFC-4C73-A778-942C-186140D3A964}"/>
              </a:ext>
            </a:extLst>
          </p:cNvPr>
          <p:cNvPicPr>
            <a:picLocks noChangeAspect="1"/>
          </p:cNvPicPr>
          <p:nvPr/>
        </p:nvPicPr>
        <p:blipFill>
          <a:blip r:embed="rId3">
            <a:extLst>
              <a:ext uri="{28A0092B-C50C-407E-A947-70E740481C1C}">
                <a14:useLocalDpi xmlns:a14="http://schemas.microsoft.com/office/drawing/2010/main" val="0"/>
              </a:ext>
            </a:extLst>
          </a:blip>
          <a:srcRect t="346" b="346"/>
          <a:stretch/>
        </p:blipFill>
        <p:spPr>
          <a:xfrm>
            <a:off x="4495348" y="960155"/>
            <a:ext cx="3201303" cy="3179123"/>
          </a:xfrm>
          <a:prstGeom prst="flowChartConnector">
            <a:avLst/>
          </a:prstGeom>
          <a:effectLst>
            <a:innerShdw blurRad="114300" dist="25400">
              <a:prstClr val="black"/>
            </a:innerShdw>
          </a:effectLst>
        </p:spPr>
      </p:pic>
    </p:spTree>
    <p:extLst>
      <p:ext uri="{BB962C8B-B14F-4D97-AF65-F5344CB8AC3E}">
        <p14:creationId xmlns:p14="http://schemas.microsoft.com/office/powerpoint/2010/main" val="21970601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0560C-86D7-93FC-E5CE-C046DCA790BE}"/>
              </a:ext>
            </a:extLst>
          </p:cNvPr>
          <p:cNvSpPr>
            <a:spLocks noGrp="1"/>
          </p:cNvSpPr>
          <p:nvPr>
            <p:ph type="title"/>
          </p:nvPr>
        </p:nvSpPr>
        <p:spPr/>
        <p:txBody>
          <a:bodyPr/>
          <a:lstStyle/>
          <a:p>
            <a:r>
              <a:rPr lang="en-US" dirty="0"/>
              <a:t>Diagnosis and virus characterization</a:t>
            </a:r>
            <a:endParaRPr lang="en-GB" dirty="0"/>
          </a:p>
        </p:txBody>
      </p:sp>
      <p:sp>
        <p:nvSpPr>
          <p:cNvPr id="3" name="Footer Placeholder 2">
            <a:extLst>
              <a:ext uri="{FF2B5EF4-FFF2-40B4-BE49-F238E27FC236}">
                <a16:creationId xmlns:a16="http://schemas.microsoft.com/office/drawing/2014/main" id="{B1986D40-2EFB-38A5-A44C-BF09318B185C}"/>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9177719E-0C84-119D-E95C-50A120AF8FF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14BF2E0-EE3B-6A4E-9FB9-82DE86E1F02F}" type="slidenum">
              <a:rPr kumimoji="0" lang="en-US" sz="900" b="0" i="0" u="none" strike="noStrike" kern="1200" cap="none" spc="0" normalizeH="0" baseline="0" noProof="0" smtClean="0">
                <a:ln>
                  <a:noFill/>
                </a:ln>
                <a:solidFill>
                  <a:srgbClr val="00205C"/>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72B6B4E4-63F4-309F-14D3-DF2E19374CA6}"/>
              </a:ext>
            </a:extLst>
          </p:cNvPr>
          <p:cNvSpPr txBox="1"/>
          <p:nvPr/>
        </p:nvSpPr>
        <p:spPr>
          <a:xfrm>
            <a:off x="457200" y="1362551"/>
            <a:ext cx="6093618" cy="4924425"/>
          </a:xfrm>
          <a:prstGeom prst="rect">
            <a:avLst/>
          </a:prstGeom>
          <a:noFill/>
        </p:spPr>
        <p:txBody>
          <a:bodyPr wrap="square">
            <a:spAutoFit/>
          </a:bodyPr>
          <a:lstStyle/>
          <a:p>
            <a:pPr marL="285750" marR="0" lvl="0" indent="-285750" algn="l" defTabSz="457200" rtl="0" eaLnBrk="1" fontAlgn="base" latinLnBrk="0" hangingPunct="1">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tkinson Hyperlegible"/>
                <a:ea typeface="+mn-ea"/>
                <a:cs typeface="+mn-cs"/>
              </a:rPr>
              <a:t>The collection of appropriate specimens from suspected human cases for virus identification, typing and subtyping by a qualified laboratory – together with rapid and precise characterization of the virus and/or its isolate at specialized reference laboratories – is essential.</a:t>
            </a:r>
          </a:p>
          <a:p>
            <a:pPr marL="285750" marR="0" lvl="0" indent="-285750" algn="l" defTabSz="457200" rtl="0" eaLnBrk="1" fontAlgn="base" latinLnBrk="0" hangingPunct="1">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tkinson Hyperlegible"/>
                <a:ea typeface="+mn-ea"/>
                <a:cs typeface="+mn-cs"/>
              </a:rPr>
              <a:t>It is important for the early detection of cases, proper management of patients, public health risk assessment and developing proper response measures. </a:t>
            </a:r>
          </a:p>
          <a:p>
            <a:pPr marL="285750" marR="0" lvl="0" indent="-285750" algn="l" defTabSz="457200" rtl="0" eaLnBrk="1" fontAlgn="base" latinLnBrk="0" hangingPunct="1">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tkinson Hyperlegible"/>
                <a:ea typeface="+mn-ea"/>
                <a:cs typeface="+mn-cs"/>
              </a:rPr>
              <a:t>Appropriate specimen collection is vital for monitoring resistance to antivirals, producing effective vaccines and evaluating laboratory methods.</a:t>
            </a:r>
          </a:p>
          <a:p>
            <a:pPr marL="0" marR="0" lvl="0" indent="0" algn="l" defTabSz="457200" rtl="0" eaLnBrk="1" fontAlgn="base" latinLnBrk="0" hangingPunct="1">
              <a:lnSpc>
                <a:spcPct val="100000"/>
              </a:lnSpc>
              <a:spcBef>
                <a:spcPts val="120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1026" name="Picture 2">
            <a:extLst>
              <a:ext uri="{FF2B5EF4-FFF2-40B4-BE49-F238E27FC236}">
                <a16:creationId xmlns:a16="http://schemas.microsoft.com/office/drawing/2014/main" id="{9BB42B9D-5988-F63C-D1EC-E30C8342D8B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44218" y="1528763"/>
            <a:ext cx="4500563"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0023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4DFAD-CAA4-270E-2550-96734603E5BC}"/>
              </a:ext>
            </a:extLst>
          </p:cNvPr>
          <p:cNvSpPr>
            <a:spLocks noGrp="1"/>
          </p:cNvSpPr>
          <p:nvPr>
            <p:ph type="title"/>
          </p:nvPr>
        </p:nvSpPr>
        <p:spPr/>
        <p:txBody>
          <a:bodyPr/>
          <a:lstStyle/>
          <a:p>
            <a:r>
              <a:rPr lang="en-US" dirty="0"/>
              <a:t>Clinical management</a:t>
            </a:r>
            <a:endParaRPr lang="en-GB" dirty="0"/>
          </a:p>
        </p:txBody>
      </p:sp>
      <p:sp>
        <p:nvSpPr>
          <p:cNvPr id="3" name="Footer Placeholder 2">
            <a:extLst>
              <a:ext uri="{FF2B5EF4-FFF2-40B4-BE49-F238E27FC236}">
                <a16:creationId xmlns:a16="http://schemas.microsoft.com/office/drawing/2014/main" id="{6590C500-063D-73A3-9488-9DBF39307CED}"/>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6F412E58-4D54-0E82-230D-0495ADD76E6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14BF2E0-EE3B-6A4E-9FB9-82DE86E1F02F}" type="slidenum">
              <a:rPr kumimoji="0" lang="en-US" sz="900" b="0" i="0" u="none" strike="noStrike" kern="1200" cap="none" spc="0" normalizeH="0" baseline="0" noProof="0" smtClean="0">
                <a:ln>
                  <a:noFill/>
                </a:ln>
                <a:solidFill>
                  <a:srgbClr val="00205C"/>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srgbClr val="00205C"/>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69AA50B4-88A6-7B95-D097-EBAA9944AA4A}"/>
              </a:ext>
            </a:extLst>
          </p:cNvPr>
          <p:cNvSpPr txBox="1"/>
          <p:nvPr/>
        </p:nvSpPr>
        <p:spPr>
          <a:xfrm>
            <a:off x="457200" y="1481139"/>
            <a:ext cx="6581554" cy="3785652"/>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nyone who may have been exposed to infected or potentially infected animals should be advised to promptly seek health care if they feel unwell, and to inform their health care provider of their possible exposur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llowing prompt testing, early and appropriate clinical management should be initiated, and precautionary measures put in place to assess and prevent potential further spread among humans and animal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ultiple antiviral medications are availabl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 </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WHO Clinical Practice Guidelines for influenza virus infections </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re currently being updated to include zoonotic influenza virus exposure and infection. </a:t>
            </a:r>
          </a:p>
        </p:txBody>
      </p:sp>
      <p:pic>
        <p:nvPicPr>
          <p:cNvPr id="7" name="Content Placeholder 7" descr="A picture containing person, blue&#10;&#10;Description automatically generated">
            <a:extLst>
              <a:ext uri="{FF2B5EF4-FFF2-40B4-BE49-F238E27FC236}">
                <a16:creationId xmlns:a16="http://schemas.microsoft.com/office/drawing/2014/main" id="{32EE41F2-9F5C-545C-F109-899BF7CA2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23159" y="1647681"/>
            <a:ext cx="4221622" cy="2814414"/>
          </a:xfrm>
          <a:prstGeom prst="rect">
            <a:avLst/>
          </a:prstGeom>
        </p:spPr>
      </p:pic>
    </p:spTree>
    <p:extLst>
      <p:ext uri="{BB962C8B-B14F-4D97-AF65-F5344CB8AC3E}">
        <p14:creationId xmlns:p14="http://schemas.microsoft.com/office/powerpoint/2010/main" val="42397159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ing exposure</a:t>
            </a:r>
          </a:p>
        </p:txBody>
      </p:sp>
      <p:sp>
        <p:nvSpPr>
          <p:cNvPr id="8" name="TextBox 7">
            <a:extLst>
              <a:ext uri="{FF2B5EF4-FFF2-40B4-BE49-F238E27FC236}">
                <a16:creationId xmlns:a16="http://schemas.microsoft.com/office/drawing/2014/main" id="{0C7CB1DF-1646-AEDC-A07E-464BDD2A76A2}"/>
              </a:ext>
            </a:extLst>
          </p:cNvPr>
          <p:cNvSpPr txBox="1"/>
          <p:nvPr/>
        </p:nvSpPr>
        <p:spPr>
          <a:xfrm>
            <a:off x="457200" y="1093887"/>
            <a:ext cx="8304028" cy="507831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Report sick or unexpectedly dead animals to local authorit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Follow good food safety and personal hygiene practices (especially hand wash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Properly handle and cook eggs, poultry meat and other animal product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Only slaughter healthy animals for human consumption – animals that have unexpectedly died should not be consumed and should be disposed of appropriately in accordance with national regulation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void consuming raw/unpasteurized milk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Comply with all other national or local official measures put in place (for example, animal movement restriction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People at risk of exposure to infected or potentially infected animals through the course of their work should wear appropriate personal protective equipment (PPE).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PPE must be correctly fitted, used and removed, and safely disposed of or decontaminated. Individuals needing to use PPE should be provided with it and trained in its appropriate us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4" name="Picture 3" descr="A person in a pig farm&#10;&#10;Description automatically generated">
            <a:extLst>
              <a:ext uri="{FF2B5EF4-FFF2-40B4-BE49-F238E27FC236}">
                <a16:creationId xmlns:a16="http://schemas.microsoft.com/office/drawing/2014/main" id="{096FF61F-4B68-2306-0A78-9BF88FCA87EC}"/>
              </a:ext>
            </a:extLst>
          </p:cNvPr>
          <p:cNvPicPr>
            <a:picLocks noChangeAspect="1"/>
          </p:cNvPicPr>
          <p:nvPr/>
        </p:nvPicPr>
        <p:blipFill>
          <a:blip r:embed="rId3"/>
          <a:stretch>
            <a:fillRect/>
          </a:stretch>
        </p:blipFill>
        <p:spPr>
          <a:xfrm>
            <a:off x="8944283" y="1022574"/>
            <a:ext cx="2879122" cy="3804719"/>
          </a:xfrm>
          <a:prstGeom prst="rect">
            <a:avLst/>
          </a:prstGeom>
          <a:ln>
            <a:solidFill>
              <a:schemeClr val="tx1"/>
            </a:solidFill>
          </a:ln>
        </p:spPr>
      </p:pic>
      <p:sp>
        <p:nvSpPr>
          <p:cNvPr id="5" name="TextBox 4">
            <a:extLst>
              <a:ext uri="{FF2B5EF4-FFF2-40B4-BE49-F238E27FC236}">
                <a16:creationId xmlns:a16="http://schemas.microsoft.com/office/drawing/2014/main" id="{9B847454-AE61-6AF8-AC72-7E20ADD980F3}"/>
              </a:ext>
            </a:extLst>
          </p:cNvPr>
          <p:cNvSpPr txBox="1"/>
          <p:nvPr/>
        </p:nvSpPr>
        <p:spPr>
          <a:xfrm>
            <a:off x="9271589" y="5039833"/>
            <a:ext cx="2373543"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hlinkClick r:id="rId4"/>
              </a:rPr>
              <a:t>Public health resource pack for countries experiencing outbreaks of influenza in animals</a:t>
            </a:r>
            <a:endPar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3905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 communication</a:t>
            </a:r>
          </a:p>
        </p:txBody>
      </p:sp>
      <p:sp>
        <p:nvSpPr>
          <p:cNvPr id="8" name="TextBox 7">
            <a:extLst>
              <a:ext uri="{FF2B5EF4-FFF2-40B4-BE49-F238E27FC236}">
                <a16:creationId xmlns:a16="http://schemas.microsoft.com/office/drawing/2014/main" id="{0C7CB1DF-1646-AEDC-A07E-464BDD2A76A2}"/>
              </a:ext>
            </a:extLst>
          </p:cNvPr>
          <p:cNvSpPr txBox="1"/>
          <p:nvPr/>
        </p:nvSpPr>
        <p:spPr>
          <a:xfrm>
            <a:off x="457200" y="1188244"/>
            <a:ext cx="7400260" cy="5139869"/>
          </a:xfrm>
          <a:prstGeom prst="rect">
            <a:avLst/>
          </a:prstGeom>
          <a:noFill/>
        </p:spPr>
        <p:txBody>
          <a:bodyPr wrap="square">
            <a:spAutoFit/>
          </a:bodyPr>
          <a:lstStyle/>
          <a:p>
            <a:pPr marL="285750" marR="0" lvl="0" indent="-285750" algn="l" defTabSz="457200" rtl="0" eaLnBrk="1" fontAlgn="base" latinLnBrk="0" hangingPunct="1">
              <a:lnSpc>
                <a:spcPct val="100000"/>
              </a:lnSpc>
              <a:spcBef>
                <a:spcPts val="12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Develop, test and review strategies for communication. </a:t>
            </a:r>
          </a:p>
          <a:p>
            <a:pPr marL="285750" marR="0" lvl="0" indent="-285750" algn="l" defTabSz="457200" rtl="0" eaLnBrk="1" fontAlgn="base" latinLnBrk="0" hangingPunct="1">
              <a:lnSpc>
                <a:spcPct val="100000"/>
              </a:lnSpc>
              <a:spcBef>
                <a:spcPts val="12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Map, set up partnerships and build trust among stakeholders and partners, networks and communities to lay the foundations for response activities. </a:t>
            </a:r>
          </a:p>
          <a:p>
            <a:pPr marL="285750" marR="0" lvl="0" indent="-285750" algn="l" defTabSz="457200" rtl="0" eaLnBrk="1" fontAlgn="base" latinLnBrk="0" hangingPunct="1">
              <a:lnSpc>
                <a:spcPct val="100000"/>
              </a:lnSpc>
              <a:spcBef>
                <a:spcPts val="12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Ensure that structures are in place to support a “One Voice” approach. </a:t>
            </a:r>
          </a:p>
          <a:p>
            <a:pPr marL="285750" marR="0" lvl="0" indent="-285750" algn="l" defTabSz="457200" rtl="0" eaLnBrk="1" fontAlgn="base" latinLnBrk="0" hangingPunct="1">
              <a:lnSpc>
                <a:spcPct val="100000"/>
              </a:lnSpc>
              <a:spcBef>
                <a:spcPts val="12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Cocreate and share influenza prevention messages, materials and health guidance with affected communities and stakeholders.</a:t>
            </a:r>
          </a:p>
          <a:p>
            <a:pPr marL="0" marR="0" lvl="0" indent="0" algn="l" defTabSz="457200" rtl="0" eaLnBrk="1" fontAlgn="base" latinLnBrk="0" hangingPunct="1">
              <a:lnSpc>
                <a:spcPct val="100000"/>
              </a:lnSpc>
              <a:spcBef>
                <a:spcPts val="12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panose="020F0502020204030204"/>
              <a:ea typeface="SimSun" panose="02010600030101010101" pitchFamily="2" charset="-122"/>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6" name="Picture 5" descr="A yellow poster with a hand and a bird&#10;&#10;Description automatically generated">
            <a:extLst>
              <a:ext uri="{FF2B5EF4-FFF2-40B4-BE49-F238E27FC236}">
                <a16:creationId xmlns:a16="http://schemas.microsoft.com/office/drawing/2014/main" id="{F06AE2B3-219A-A1EB-33B1-C624A46C6F5B}"/>
              </a:ext>
            </a:extLst>
          </p:cNvPr>
          <p:cNvPicPr>
            <a:picLocks noChangeAspect="1"/>
          </p:cNvPicPr>
          <p:nvPr/>
        </p:nvPicPr>
        <p:blipFill>
          <a:blip r:embed="rId3"/>
          <a:stretch>
            <a:fillRect/>
          </a:stretch>
        </p:blipFill>
        <p:spPr>
          <a:xfrm>
            <a:off x="8140995" y="1360968"/>
            <a:ext cx="3593805" cy="3593805"/>
          </a:xfrm>
          <a:prstGeom prst="rect">
            <a:avLst/>
          </a:prstGeom>
        </p:spPr>
      </p:pic>
    </p:spTree>
    <p:extLst>
      <p:ext uri="{BB962C8B-B14F-4D97-AF65-F5344CB8AC3E}">
        <p14:creationId xmlns:p14="http://schemas.microsoft.com/office/powerpoint/2010/main" val="8952245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832BDF2-EF58-8015-DA92-54AF699143B9}"/>
              </a:ext>
            </a:extLst>
          </p:cNvPr>
          <p:cNvSpPr txBox="1"/>
          <p:nvPr/>
        </p:nvSpPr>
        <p:spPr>
          <a:xfrm>
            <a:off x="457200" y="1188244"/>
            <a:ext cx="11492824" cy="6417141"/>
          </a:xfrm>
          <a:prstGeom prst="rect">
            <a:avLst/>
          </a:prstGeom>
          <a:noFill/>
        </p:spPr>
        <p:txBody>
          <a:bodyPr wrap="square" lIns="91440" tIns="45720" rIns="91440" bIns="45720" rtlCol="0" anchor="t">
            <a:spAutoFit/>
          </a:bodyPr>
          <a:lstStyle/>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Nearly 900 detections of </a:t>
            </a: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A(H5N1) in humans</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 reported from over 20 countries since 2003.</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Sporadic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with direct or indirect </a:t>
            </a: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exposure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to infected animals or contaminated environment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Infections </a:t>
            </a: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can be severe</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 and even fatal.</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Available genetic sequences of the virus from the human </a:t>
            </a: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cases similar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to those from local </a:t>
            </a: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animals</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No sustained human-to-human transmission.</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Avian influenza A(H5N1) viruses, especially those of clade 2.3.4.4b, continue to </a:t>
            </a: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diversify genetically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and </a:t>
            </a: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spread geographically</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  </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It is</a:t>
            </a:r>
            <a:r>
              <a:rPr kumimoji="0" lang="en-CH" sz="2000" b="1" i="0" u="none" strike="noStrike" kern="1200" cap="none" spc="0" normalizeH="0" baseline="0" noProof="0" dirty="0">
                <a:ln>
                  <a:noFill/>
                </a:ln>
                <a:solidFill>
                  <a:srgbClr val="000000"/>
                </a:solidFill>
                <a:effectLst/>
                <a:uLnTx/>
                <a:uFillTx/>
                <a:latin typeface="Calibri" panose="020F0502020204030204"/>
                <a:ea typeface="+mn-ea"/>
                <a:cs typeface="+mn-cs"/>
              </a:rPr>
              <a:t> a concerning, evolving situation</a:t>
            </a: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 but </a:t>
            </a:r>
            <a:r>
              <a:rPr kumimoji="0" lang="en-GB" sz="2000" b="1" i="0" u="none" strike="noStrike" kern="1200" cap="none" spc="0" normalizeH="0" baseline="0" noProof="0" dirty="0">
                <a:ln>
                  <a:noFill/>
                </a:ln>
                <a:solidFill>
                  <a:srgbClr val="000000"/>
                </a:solidFill>
                <a:effectLst/>
                <a:uLnTx/>
                <a:uFillTx/>
                <a:latin typeface="Calibri" panose="020F0502020204030204"/>
                <a:ea typeface="+mn-ea"/>
                <a:cs typeface="+mn-cs"/>
              </a:rPr>
              <a:t>not an influenza pandemic.</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Prompt &amp; thorough investigations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are critical, </a:t>
            </a: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early identification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of any unusual events that could signal person-to-person transmission of the virus and </a:t>
            </a: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timely reporting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are key to optimal outcome of response.</a:t>
            </a:r>
            <a:endParaRPr kumimoji="0" lang="en-CH" sz="20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rgbClr val="000000"/>
                </a:solidFill>
                <a:effectLst/>
                <a:uLnTx/>
                <a:uFillTx/>
                <a:latin typeface="Calibri" panose="020F0502020204030204"/>
                <a:ea typeface="Calibri"/>
                <a:cs typeface="Calibri"/>
              </a:rPr>
              <a:t>Advancing pandemic influenza preparedness </a:t>
            </a:r>
            <a:r>
              <a:rPr kumimoji="0" lang="en-GB" sz="2000" b="0" i="0" u="none" strike="noStrike" kern="1200" cap="none" spc="0" normalizeH="0" baseline="0" noProof="0" dirty="0">
                <a:ln>
                  <a:noFill/>
                </a:ln>
                <a:solidFill>
                  <a:srgbClr val="000000"/>
                </a:solidFill>
                <a:effectLst/>
                <a:uLnTx/>
                <a:uFillTx/>
                <a:latin typeface="Calibri" panose="020F0502020204030204"/>
                <a:ea typeface="Calibri"/>
                <a:cs typeface="Calibri"/>
              </a:rPr>
              <a:t>at national, regional and global level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rgbClr val="000000"/>
                </a:solidFill>
                <a:effectLst/>
                <a:uLnTx/>
                <a:uFillTx/>
                <a:latin typeface="Calibri" panose="020F0502020204030204"/>
                <a:ea typeface="+mn-ea"/>
                <a:cs typeface="+mn-cs"/>
              </a:rPr>
              <a:t>Global collaboration and coordination are key to optimal outcome</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H" sz="2000" b="0" i="0" u="none" strike="noStrike" kern="1200" cap="none" spc="0" normalizeH="0" baseline="0" noProof="0" dirty="0">
                <a:ln>
                  <a:noFill/>
                </a:ln>
                <a:solidFill>
                  <a:srgbClr val="000000"/>
                </a:solidFill>
                <a:effectLst/>
                <a:uLnTx/>
                <a:uFillTx/>
                <a:latin typeface="Calibri" panose="020F0502020204030204"/>
                <a:ea typeface="Calibri"/>
                <a:cs typeface="Calibri"/>
              </a:rPr>
              <a:t>Sharing of sequences and viruses from humans and animals is critical</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a:cs typeface="Calibri"/>
              </a:rPr>
              <a:t>.</a:t>
            </a:r>
            <a:endParaRPr kumimoji="0" lang="en-CH" sz="2000" b="0" i="0" u="none" strike="noStrike" kern="1200" cap="none" spc="0" normalizeH="0" baseline="0" noProof="0" dirty="0">
              <a:ln>
                <a:noFill/>
              </a:ln>
              <a:solidFill>
                <a:srgbClr val="000000"/>
              </a:solidFill>
              <a:effectLst/>
              <a:uLnTx/>
              <a:uFillTx/>
              <a:latin typeface="Calibri" panose="020F0502020204030204"/>
              <a:ea typeface="Calibri"/>
              <a:cs typeface="Calibri"/>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panose="020F0502020204030204"/>
                <a:ea typeface="+mn-ea"/>
                <a:cs typeface="+mn-cs"/>
              </a:rPr>
              <a:t>GISRS is an effective foundation for surveillance, preparedness and response. </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20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Calibri"/>
            </a:endParaRP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Calibri"/>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p:txBody>
      </p:sp>
      <p:sp>
        <p:nvSpPr>
          <p:cNvPr id="6" name="Title 5">
            <a:extLst>
              <a:ext uri="{FF2B5EF4-FFF2-40B4-BE49-F238E27FC236}">
                <a16:creationId xmlns:a16="http://schemas.microsoft.com/office/drawing/2014/main" id="{573DFB17-2A30-BCDF-FF03-D767EC74C5D6}"/>
              </a:ext>
            </a:extLst>
          </p:cNvPr>
          <p:cNvSpPr>
            <a:spLocks noGrp="1"/>
          </p:cNvSpPr>
          <p:nvPr>
            <p:ph type="title"/>
          </p:nvPr>
        </p:nvSpPr>
        <p:spPr/>
        <p:txBody>
          <a:bodyPr/>
          <a:lstStyle/>
          <a:p>
            <a:r>
              <a:rPr lang="en-US" dirty="0"/>
              <a:t>Summary of current situation</a:t>
            </a:r>
            <a:endParaRPr lang="en-GB" dirty="0"/>
          </a:p>
        </p:txBody>
      </p:sp>
    </p:spTree>
    <p:extLst>
      <p:ext uri="{BB962C8B-B14F-4D97-AF65-F5344CB8AC3E}">
        <p14:creationId xmlns:p14="http://schemas.microsoft.com/office/powerpoint/2010/main" val="31184166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D9D7D-02A0-E1D6-06C6-125DA8F084CF}"/>
              </a:ext>
            </a:extLst>
          </p:cNvPr>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33014846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ED487-EC8A-4B90-B9C4-C2A3F4AE48B3}"/>
              </a:ext>
            </a:extLst>
          </p:cNvPr>
          <p:cNvSpPr>
            <a:spLocks noGrp="1"/>
          </p:cNvSpPr>
          <p:nvPr>
            <p:ph type="title"/>
          </p:nvPr>
        </p:nvSpPr>
        <p:spPr>
          <a:xfrm>
            <a:off x="516861" y="417869"/>
            <a:ext cx="5472167" cy="2852737"/>
          </a:xfrm>
        </p:spPr>
        <p:txBody>
          <a:bodyPr>
            <a:normAutofit fontScale="90000"/>
          </a:bodyPr>
          <a:lstStyle/>
          <a:p>
            <a:r>
              <a:rPr lang="pt-BR"/>
              <a:t>Highly Pathogenic Avian Influenza A(H5N1) Virus</a:t>
            </a:r>
            <a:endParaRPr lang="en-US"/>
          </a:p>
        </p:txBody>
      </p:sp>
      <p:sp>
        <p:nvSpPr>
          <p:cNvPr id="3" name="Text Placeholder 2">
            <a:extLst>
              <a:ext uri="{FF2B5EF4-FFF2-40B4-BE49-F238E27FC236}">
                <a16:creationId xmlns:a16="http://schemas.microsoft.com/office/drawing/2014/main" id="{2875B96E-0D3C-4B33-9F42-652848B2BDDE}"/>
              </a:ext>
            </a:extLst>
          </p:cNvPr>
          <p:cNvSpPr>
            <a:spLocks noGrp="1"/>
          </p:cNvSpPr>
          <p:nvPr>
            <p:ph type="body" idx="1"/>
          </p:nvPr>
        </p:nvSpPr>
        <p:spPr>
          <a:xfrm>
            <a:off x="273258" y="3429000"/>
            <a:ext cx="5824435" cy="2852737"/>
          </a:xfrm>
        </p:spPr>
        <p:txBody>
          <a:bodyPr vert="horz" lIns="91440" tIns="45720" rIns="91440" bIns="45720" rtlCol="0" anchor="t">
            <a:normAutofit lnSpcReduction="10000"/>
          </a:bodyPr>
          <a:lstStyle/>
          <a:p>
            <a:pPr algn="ctr" rtl="0" fontAlgn="base"/>
            <a:r>
              <a:rPr lang="en-US" b="0" i="0" u="none" strike="noStrike" dirty="0">
                <a:solidFill>
                  <a:srgbClr val="D9D9D9"/>
                </a:solidFill>
                <a:effectLst/>
                <a:latin typeface="Calibri" panose="020F0502020204030204" pitchFamily="34" charset="0"/>
              </a:rPr>
              <a:t>Vivien G. Dugan, PhD</a:t>
            </a:r>
            <a:endParaRPr lang="en-US" b="0" i="0" dirty="0">
              <a:solidFill>
                <a:srgbClr val="000000"/>
              </a:solidFill>
              <a:effectLst/>
              <a:latin typeface="Segoe UI" panose="020B0502040204020203" pitchFamily="34" charset="0"/>
            </a:endParaRPr>
          </a:p>
          <a:p>
            <a:pPr algn="ctr" rtl="0" fontAlgn="base"/>
            <a:r>
              <a:rPr lang="en-US" b="0" i="0" u="none" strike="noStrike" dirty="0">
                <a:solidFill>
                  <a:srgbClr val="D9D9D9"/>
                </a:solidFill>
                <a:effectLst/>
                <a:latin typeface="Calibri" panose="020F0502020204030204" pitchFamily="34" charset="0"/>
              </a:rPr>
              <a:t>Director, Influenza Division</a:t>
            </a:r>
            <a:r>
              <a:rPr lang="en-US" b="0" i="0" dirty="0">
                <a:solidFill>
                  <a:srgbClr val="000000"/>
                </a:solidFill>
                <a:effectLst/>
                <a:latin typeface="Calibri" panose="020F0502020204030204" pitchFamily="34" charset="0"/>
              </a:rPr>
              <a:t>​</a:t>
            </a:r>
            <a:endParaRPr lang="en-US" b="0" i="0" dirty="0">
              <a:solidFill>
                <a:srgbClr val="000000"/>
              </a:solidFill>
              <a:effectLst/>
              <a:latin typeface="Segoe UI" panose="020B0502040204020203" pitchFamily="34" charset="0"/>
            </a:endParaRPr>
          </a:p>
          <a:p>
            <a:pPr algn="ctr" rtl="0" fontAlgn="base"/>
            <a:r>
              <a:rPr lang="en-US" b="0" i="0" u="none" strike="noStrike" dirty="0">
                <a:solidFill>
                  <a:srgbClr val="D9D9D9"/>
                </a:solidFill>
                <a:effectLst/>
                <a:latin typeface="Calibri" panose="020F0502020204030204" pitchFamily="34" charset="0"/>
              </a:rPr>
              <a:t>National Center for Immunization and Respiratory Diseases</a:t>
            </a:r>
          </a:p>
          <a:p>
            <a:pPr algn="ctr" rtl="0" fontAlgn="base"/>
            <a:r>
              <a:rPr lang="en-US" dirty="0"/>
              <a:t>Centers for Disease Control and Prevention</a:t>
            </a:r>
          </a:p>
          <a:p>
            <a:endParaRPr lang="en-US" dirty="0">
              <a:cs typeface="Calibri" panose="020F0502020204030204"/>
            </a:endParaRPr>
          </a:p>
          <a:p>
            <a:r>
              <a:rPr lang="en-US" dirty="0"/>
              <a:t>August 27, 2024</a:t>
            </a:r>
          </a:p>
        </p:txBody>
      </p:sp>
    </p:spTree>
    <p:extLst>
      <p:ext uri="{BB962C8B-B14F-4D97-AF65-F5344CB8AC3E}">
        <p14:creationId xmlns:p14="http://schemas.microsoft.com/office/powerpoint/2010/main" val="1000218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8420D-ED7F-846D-7DF7-10FC38EBA20F}"/>
              </a:ext>
            </a:extLst>
          </p:cNvPr>
          <p:cNvSpPr>
            <a:spLocks noGrp="1"/>
          </p:cNvSpPr>
          <p:nvPr>
            <p:ph type="title"/>
          </p:nvPr>
        </p:nvSpPr>
        <p:spPr>
          <a:xfrm>
            <a:off x="590611" y="115464"/>
            <a:ext cx="10515600" cy="999179"/>
          </a:xfrm>
        </p:spPr>
        <p:txBody>
          <a:bodyPr>
            <a:normAutofit/>
          </a:bodyPr>
          <a:lstStyle/>
          <a:p>
            <a:r>
              <a:rPr lang="en-US" sz="3600">
                <a:latin typeface="+mn-lt"/>
              </a:rPr>
              <a:t>HPAI A(H5N1) Cases Since 1997*</a:t>
            </a:r>
          </a:p>
        </p:txBody>
      </p:sp>
      <p:pic>
        <p:nvPicPr>
          <p:cNvPr id="4" name="Picture 3">
            <a:extLst>
              <a:ext uri="{FF2B5EF4-FFF2-40B4-BE49-F238E27FC236}">
                <a16:creationId xmlns:a16="http://schemas.microsoft.com/office/drawing/2014/main" id="{44B145AB-BBF7-70EF-C901-F934DB33E3C3}"/>
              </a:ext>
            </a:extLst>
          </p:cNvPr>
          <p:cNvPicPr>
            <a:picLocks noChangeAspect="1"/>
          </p:cNvPicPr>
          <p:nvPr/>
        </p:nvPicPr>
        <p:blipFill>
          <a:blip r:embed="rId3"/>
          <a:stretch>
            <a:fillRect/>
          </a:stretch>
        </p:blipFill>
        <p:spPr>
          <a:xfrm>
            <a:off x="698500" y="1010010"/>
            <a:ext cx="10502900" cy="5841281"/>
          </a:xfrm>
          <a:prstGeom prst="rect">
            <a:avLst/>
          </a:prstGeom>
        </p:spPr>
      </p:pic>
      <p:sp>
        <p:nvSpPr>
          <p:cNvPr id="5" name="TextBox 4">
            <a:extLst>
              <a:ext uri="{FF2B5EF4-FFF2-40B4-BE49-F238E27FC236}">
                <a16:creationId xmlns:a16="http://schemas.microsoft.com/office/drawing/2014/main" id="{8786ED54-D528-01B7-29F1-316A35369AD7}"/>
              </a:ext>
            </a:extLst>
          </p:cNvPr>
          <p:cNvSpPr txBox="1"/>
          <p:nvPr/>
        </p:nvSpPr>
        <p:spPr>
          <a:xfrm>
            <a:off x="7957144" y="6420902"/>
            <a:ext cx="4160602"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prstClr val="black"/>
                </a:solidFill>
                <a:effectLst/>
                <a:uLnTx/>
                <a:uFillTx/>
                <a:latin typeface="Calibri" panose="020F0502020204030204"/>
                <a:ea typeface="+mn-ea"/>
                <a:cs typeface="+mn-cs"/>
              </a:rPr>
              <a:t>*Includes some A(H5)+, presumed H5N1 cases </a:t>
            </a:r>
          </a:p>
        </p:txBody>
      </p:sp>
      <p:sp>
        <p:nvSpPr>
          <p:cNvPr id="7" name="TextBox 6">
            <a:extLst>
              <a:ext uri="{FF2B5EF4-FFF2-40B4-BE49-F238E27FC236}">
                <a16:creationId xmlns:a16="http://schemas.microsoft.com/office/drawing/2014/main" id="{61CDBE26-2395-0406-EA50-4B27751C23F1}"/>
              </a:ext>
            </a:extLst>
          </p:cNvPr>
          <p:cNvSpPr txBox="1"/>
          <p:nvPr/>
        </p:nvSpPr>
        <p:spPr>
          <a:xfrm>
            <a:off x="1137684" y="6420901"/>
            <a:ext cx="695468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C1D1F"/>
                </a:solidFill>
                <a:effectLst/>
                <a:uLnTx/>
                <a:uFillTx/>
                <a:latin typeface="Poppins" panose="00000500000000000000" pitchFamily="2" charset="0"/>
                <a:ea typeface="+mn-ea"/>
                <a:cs typeface="+mn-cs"/>
              </a:rPr>
              <a:t>Figure 1. Epidemic Curve of Human Cases of A(H5N1) by Illness Onset Date, 1997-2023 by Country: </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hlinkClick r:id="rId4"/>
              </a:rPr>
              <a:t>Technical Report: June 2024 Highly Pathogenic Avian Influenza A(H5N1) Viruses | Bird Flu | CDC</a:t>
            </a: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02167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4E8E59-AB9D-3E76-D61A-2CA2EF82DC89}"/>
              </a:ext>
            </a:extLst>
          </p:cNvPr>
          <p:cNvSpPr>
            <a:spLocks noGrp="1"/>
          </p:cNvSpPr>
          <p:nvPr>
            <p:ph type="body" sz="quarter" idx="10"/>
          </p:nvPr>
        </p:nvSpPr>
        <p:spPr>
          <a:xfrm>
            <a:off x="70008" y="1364331"/>
            <a:ext cx="5894515" cy="5202668"/>
          </a:xfrm>
        </p:spPr>
        <p:txBody>
          <a:bodyPr vert="horz" lIns="91440" tIns="45720" rIns="91440" bIns="45720" rtlCol="0" anchor="t">
            <a:noAutofit/>
          </a:bodyPr>
          <a:lstStyle/>
          <a:p>
            <a:pPr>
              <a:lnSpc>
                <a:spcPct val="100000"/>
              </a:lnSpc>
              <a:buClrTx/>
            </a:pPr>
            <a:r>
              <a:rPr lang="en-US">
                <a:solidFill>
                  <a:schemeClr val="tx1"/>
                </a:solidFill>
                <a:latin typeface="Calibri"/>
                <a:ea typeface="Calibri" panose="020F0502020204030204" pitchFamily="34" charset="0"/>
                <a:cs typeface="Calibri"/>
              </a:rPr>
              <a:t>Historically, human infections have been the result of:</a:t>
            </a:r>
          </a:p>
          <a:p>
            <a:pPr marL="801370" lvl="1" indent="-344170">
              <a:lnSpc>
                <a:spcPct val="100000"/>
              </a:lnSpc>
              <a:buFont typeface="Wingdings" panose="020B0604020202020204" pitchFamily="34" charset="0"/>
              <a:buChar char="§"/>
            </a:pPr>
            <a:r>
              <a:rPr lang="en-US" b="1">
                <a:solidFill>
                  <a:schemeClr val="tx1"/>
                </a:solidFill>
                <a:latin typeface="Calibri"/>
                <a:ea typeface="Calibri" panose="020F0502020204030204" pitchFamily="34" charset="0"/>
                <a:cs typeface="Calibri"/>
              </a:rPr>
              <a:t>Poultry exposures </a:t>
            </a:r>
          </a:p>
          <a:p>
            <a:pPr marL="1142682" lvl="2" indent="-344170">
              <a:lnSpc>
                <a:spcPct val="100000"/>
              </a:lnSpc>
              <a:buFont typeface="Courier New" panose="02070309020205020404" pitchFamily="49" charset="0"/>
              <a:buChar char="o"/>
            </a:pPr>
            <a:r>
              <a:rPr lang="en-US" b="1">
                <a:solidFill>
                  <a:srgbClr val="FF0000"/>
                </a:solidFill>
                <a:latin typeface="Calibri"/>
                <a:ea typeface="Calibri" panose="020F0502020204030204" pitchFamily="34" charset="0"/>
                <a:cs typeface="Calibri"/>
              </a:rPr>
              <a:t>Direct/close contact with sick/dead poultry </a:t>
            </a:r>
          </a:p>
          <a:p>
            <a:pPr marL="1142682" lvl="2" indent="-344170">
              <a:lnSpc>
                <a:spcPct val="100000"/>
              </a:lnSpc>
              <a:buFont typeface="Courier New" panose="02070309020205020404" pitchFamily="49" charset="0"/>
              <a:buChar char="o"/>
            </a:pPr>
            <a:r>
              <a:rPr lang="en-US">
                <a:latin typeface="Calibri"/>
                <a:ea typeface="Calibri" panose="020F0502020204030204" pitchFamily="34" charset="0"/>
                <a:cs typeface="Calibri"/>
              </a:rPr>
              <a:t>Visiting a live poultry market</a:t>
            </a:r>
          </a:p>
          <a:p>
            <a:pPr marL="801370" lvl="1" indent="-344170">
              <a:lnSpc>
                <a:spcPct val="100000"/>
              </a:lnSpc>
              <a:buFont typeface="Wingdings" panose="020B0604020202020204" pitchFamily="34" charset="0"/>
              <a:buChar char="§"/>
            </a:pPr>
            <a:r>
              <a:rPr lang="en-US" b="1">
                <a:solidFill>
                  <a:schemeClr val="tx1"/>
                </a:solidFill>
                <a:latin typeface="Calibri"/>
                <a:ea typeface="Calibri" panose="020F0502020204030204" pitchFamily="34" charset="0"/>
                <a:cs typeface="Calibri"/>
              </a:rPr>
              <a:t>Exposure to other infected animals</a:t>
            </a:r>
          </a:p>
          <a:p>
            <a:pPr marL="1142682" lvl="2" indent="-344170">
              <a:lnSpc>
                <a:spcPct val="100000"/>
              </a:lnSpc>
              <a:buFont typeface="Courier New" panose="02070309020205020404" pitchFamily="49" charset="0"/>
              <a:buChar char="o"/>
            </a:pPr>
            <a:r>
              <a:rPr lang="en-US" b="1">
                <a:solidFill>
                  <a:srgbClr val="FF0000"/>
                </a:solidFill>
                <a:latin typeface="Calibri"/>
                <a:ea typeface="Calibri" panose="020F0502020204030204" pitchFamily="34" charset="0"/>
                <a:cs typeface="Calibri"/>
              </a:rPr>
              <a:t>Direct contact or close exposure (swans, dairy cows)</a:t>
            </a:r>
          </a:p>
          <a:p>
            <a:pPr marL="801370" lvl="1" indent="-344170">
              <a:lnSpc>
                <a:spcPct val="100000"/>
              </a:lnSpc>
              <a:buFont typeface="Wingdings" panose="020B0604020202020204" pitchFamily="34" charset="0"/>
              <a:buChar char="§"/>
            </a:pPr>
            <a:r>
              <a:rPr lang="en-US">
                <a:latin typeface="Calibri"/>
                <a:ea typeface="Calibri" panose="020F0502020204030204" pitchFamily="34" charset="0"/>
                <a:cs typeface="Calibri"/>
              </a:rPr>
              <a:t>Limited, non-sustained human-to-human transmission has occurred globally in the past (not in U.S.)</a:t>
            </a:r>
            <a:endParaRPr lang="en-US">
              <a:latin typeface="Calibri" panose="020F0502020204030204" pitchFamily="34" charset="0"/>
              <a:ea typeface="Calibri" panose="020F0502020204030204" pitchFamily="34" charset="0"/>
              <a:cs typeface="Calibri"/>
            </a:endParaRPr>
          </a:p>
        </p:txBody>
      </p:sp>
      <p:sp>
        <p:nvSpPr>
          <p:cNvPr id="3" name="Title 2">
            <a:extLst>
              <a:ext uri="{FF2B5EF4-FFF2-40B4-BE49-F238E27FC236}">
                <a16:creationId xmlns:a16="http://schemas.microsoft.com/office/drawing/2014/main" id="{854CBA8B-C5D5-53B7-A9A9-774FB213BCF6}"/>
              </a:ext>
            </a:extLst>
          </p:cNvPr>
          <p:cNvSpPr>
            <a:spLocks noGrp="1"/>
          </p:cNvSpPr>
          <p:nvPr>
            <p:ph type="title"/>
          </p:nvPr>
        </p:nvSpPr>
        <p:spPr>
          <a:xfrm>
            <a:off x="486819" y="291001"/>
            <a:ext cx="10681913" cy="706526"/>
          </a:xfrm>
        </p:spPr>
        <p:txBody>
          <a:bodyPr>
            <a:noAutofit/>
          </a:bodyPr>
          <a:lstStyle/>
          <a:p>
            <a:pPr>
              <a:lnSpc>
                <a:spcPct val="100000"/>
              </a:lnSpc>
            </a:pPr>
            <a:r>
              <a:rPr lang="en-US" sz="3600">
                <a:solidFill>
                  <a:srgbClr val="002060"/>
                </a:solidFill>
                <a:latin typeface="Calibri"/>
                <a:cs typeface="Calibri"/>
              </a:rPr>
              <a:t>Historical Human Exposures to HPAI A(H5N1) Viruses</a:t>
            </a:r>
          </a:p>
        </p:txBody>
      </p:sp>
      <p:pic>
        <p:nvPicPr>
          <p:cNvPr id="5" name="Picture 4">
            <a:extLst>
              <a:ext uri="{FF2B5EF4-FFF2-40B4-BE49-F238E27FC236}">
                <a16:creationId xmlns:a16="http://schemas.microsoft.com/office/drawing/2014/main" id="{4953D3C1-F2BC-DCDD-6692-9B56D51946FC}"/>
              </a:ext>
            </a:extLst>
          </p:cNvPr>
          <p:cNvPicPr>
            <a:picLocks noChangeAspect="1"/>
          </p:cNvPicPr>
          <p:nvPr/>
        </p:nvPicPr>
        <p:blipFill>
          <a:blip r:embed="rId3"/>
          <a:stretch>
            <a:fillRect/>
          </a:stretch>
        </p:blipFill>
        <p:spPr>
          <a:xfrm>
            <a:off x="5964523" y="1472306"/>
            <a:ext cx="6025992" cy="4647029"/>
          </a:xfrm>
          <a:prstGeom prst="rect">
            <a:avLst/>
          </a:prstGeom>
        </p:spPr>
      </p:pic>
    </p:spTree>
    <p:extLst>
      <p:ext uri="{BB962C8B-B14F-4D97-AF65-F5344CB8AC3E}">
        <p14:creationId xmlns:p14="http://schemas.microsoft.com/office/powerpoint/2010/main" val="39050296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8BF3D-2491-D13C-4837-7EAE5FA15270}"/>
              </a:ext>
            </a:extLst>
          </p:cNvPr>
          <p:cNvSpPr>
            <a:spLocks noGrp="1"/>
          </p:cNvSpPr>
          <p:nvPr>
            <p:ph type="title"/>
          </p:nvPr>
        </p:nvSpPr>
        <p:spPr>
          <a:xfrm>
            <a:off x="831850" y="1709738"/>
            <a:ext cx="10515600" cy="1884067"/>
          </a:xfrm>
        </p:spPr>
        <p:txBody>
          <a:bodyPr>
            <a:normAutofit/>
          </a:bodyPr>
          <a:lstStyle/>
          <a:p>
            <a:r>
              <a:rPr lang="en-US" sz="4800" b="1"/>
              <a:t>HPAI A(H5N1) in Dairy Cattle: Current Situation and Response Updates</a:t>
            </a:r>
          </a:p>
        </p:txBody>
      </p:sp>
    </p:spTree>
    <p:extLst>
      <p:ext uri="{BB962C8B-B14F-4D97-AF65-F5344CB8AC3E}">
        <p14:creationId xmlns:p14="http://schemas.microsoft.com/office/powerpoint/2010/main" val="39682140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51DE75-A6AA-4449-B8D1-417320094695}"/>
              </a:ext>
            </a:extLst>
          </p:cNvPr>
          <p:cNvSpPr>
            <a:spLocks noGrp="1"/>
          </p:cNvSpPr>
          <p:nvPr>
            <p:ph type="body" sz="half" idx="2"/>
          </p:nvPr>
        </p:nvSpPr>
        <p:spPr>
          <a:xfrm>
            <a:off x="8289055" y="1507034"/>
            <a:ext cx="3156018" cy="4448381"/>
          </a:xfrm>
        </p:spPr>
        <p:txBody>
          <a:bodyPr/>
          <a:lstStyle/>
          <a:p>
            <a:pPr algn="ctr">
              <a:lnSpc>
                <a:spcPct val="100000"/>
              </a:lnSpc>
            </a:pPr>
            <a:r>
              <a:rPr lang="en-US"/>
              <a:t>For questions to the panelists, use the </a:t>
            </a:r>
            <a:r>
              <a:rPr lang="en-US" b="1">
                <a:highlight>
                  <a:srgbClr val="975CA5"/>
                </a:highlight>
              </a:rPr>
              <a:t>Q&amp;A box</a:t>
            </a:r>
            <a:r>
              <a:rPr lang="en-US" b="1"/>
              <a:t> </a:t>
            </a:r>
          </a:p>
          <a:p>
            <a:pPr algn="ctr">
              <a:lnSpc>
                <a:spcPct val="100000"/>
              </a:lnSpc>
            </a:pPr>
            <a:endParaRPr lang="en-US"/>
          </a:p>
          <a:p>
            <a:pPr algn="ctr">
              <a:lnSpc>
                <a:spcPct val="100000"/>
              </a:lnSpc>
            </a:pPr>
            <a:r>
              <a:rPr lang="en-US"/>
              <a:t>The webinar recording and slides will be posted on </a:t>
            </a:r>
            <a:r>
              <a:rPr lang="en-US" b="1">
                <a:highlight>
                  <a:srgbClr val="975CA5"/>
                </a:highlight>
              </a:rPr>
              <a:t>www.icap.columbia.edu </a:t>
            </a:r>
          </a:p>
          <a:p>
            <a:pPr algn="ctr">
              <a:lnSpc>
                <a:spcPct val="100000"/>
              </a:lnSpc>
            </a:pPr>
            <a:r>
              <a:rPr lang="en-US"/>
              <a:t>  </a:t>
            </a:r>
          </a:p>
        </p:txBody>
      </p:sp>
      <p:sp>
        <p:nvSpPr>
          <p:cNvPr id="4" name="Text Placeholder 3">
            <a:extLst>
              <a:ext uri="{FF2B5EF4-FFF2-40B4-BE49-F238E27FC236}">
                <a16:creationId xmlns:a16="http://schemas.microsoft.com/office/drawing/2014/main" id="{A627A441-E390-4145-BA50-E8B716710C63}"/>
              </a:ext>
            </a:extLst>
          </p:cNvPr>
          <p:cNvSpPr>
            <a:spLocks noGrp="1"/>
          </p:cNvSpPr>
          <p:nvPr>
            <p:ph type="body" sz="half" idx="13"/>
          </p:nvPr>
        </p:nvSpPr>
        <p:spPr>
          <a:xfrm>
            <a:off x="590169" y="1507034"/>
            <a:ext cx="6323097" cy="4448381"/>
          </a:xfrm>
        </p:spPr>
        <p:txBody>
          <a:bodyPr vert="horz" lIns="91440" tIns="45720" rIns="91440" bIns="45720" numCol="2" spcCol="457200" rtlCol="0" anchor="t">
            <a:normAutofit/>
          </a:bodyPr>
          <a:lstStyle/>
          <a:p>
            <a:pPr>
              <a:lnSpc>
                <a:spcPct val="100000"/>
              </a:lnSpc>
              <a:spcBef>
                <a:spcPts val="0"/>
              </a:spcBef>
            </a:pPr>
            <a:r>
              <a:rPr lang="en-US" sz="1800" b="1">
                <a:solidFill>
                  <a:schemeClr val="tx1"/>
                </a:solidFill>
              </a:rPr>
              <a:t>Welcome and Introduction – </a:t>
            </a:r>
            <a:endParaRPr lang="en-US" sz="1800" i="1">
              <a:solidFill>
                <a:schemeClr val="tx1"/>
              </a:solidFill>
            </a:endParaRPr>
          </a:p>
          <a:p>
            <a:pPr>
              <a:lnSpc>
                <a:spcPct val="100000"/>
              </a:lnSpc>
              <a:spcBef>
                <a:spcPts val="0"/>
              </a:spcBef>
            </a:pPr>
            <a:r>
              <a:rPr lang="en-US" sz="1800" b="1">
                <a:solidFill>
                  <a:schemeClr val="tx1"/>
                </a:solidFill>
              </a:rPr>
              <a:t>Presentation</a:t>
            </a:r>
          </a:p>
          <a:p>
            <a:pPr>
              <a:lnSpc>
                <a:spcPct val="100000"/>
              </a:lnSpc>
              <a:spcBef>
                <a:spcPts val="0"/>
              </a:spcBef>
            </a:pPr>
            <a:endParaRPr lang="en-US" sz="1800" b="1" i="1">
              <a:solidFill>
                <a:srgbClr val="975CA5"/>
              </a:solidFill>
            </a:endParaRPr>
          </a:p>
          <a:p>
            <a:pPr>
              <a:lnSpc>
                <a:spcPct val="100000"/>
              </a:lnSpc>
              <a:spcBef>
                <a:spcPts val="0"/>
              </a:spcBef>
            </a:pPr>
            <a:r>
              <a:rPr lang="en-US" sz="1800" b="1">
                <a:solidFill>
                  <a:schemeClr val="tx1"/>
                </a:solidFill>
              </a:rPr>
              <a:t>Q &amp; A</a:t>
            </a:r>
            <a:endParaRPr lang="en-US" sz="1800">
              <a:solidFill>
                <a:schemeClr val="tx1"/>
              </a:solidFill>
            </a:endParaRPr>
          </a:p>
        </p:txBody>
      </p:sp>
      <p:sp>
        <p:nvSpPr>
          <p:cNvPr id="7" name="Title 3">
            <a:extLst>
              <a:ext uri="{FF2B5EF4-FFF2-40B4-BE49-F238E27FC236}">
                <a16:creationId xmlns:a16="http://schemas.microsoft.com/office/drawing/2014/main" id="{16BB6EF0-844D-4DB3-B275-55AEF13E2225}"/>
              </a:ext>
            </a:extLst>
          </p:cNvPr>
          <p:cNvSpPr txBox="1">
            <a:spLocks/>
          </p:cNvSpPr>
          <p:nvPr/>
        </p:nvSpPr>
        <p:spPr>
          <a:xfrm>
            <a:off x="590169" y="455773"/>
            <a:ext cx="3551163" cy="702080"/>
          </a:xfrm>
          <a:prstGeom prst="rect">
            <a:avLst/>
          </a:prstGeom>
        </p:spPr>
        <p:txBody>
          <a:bodyPr vert="horz" lIns="91440" tIns="45720" rIns="91440" bIns="45720" rtlCol="0" anchor="t">
            <a:normAutofit/>
          </a:bodyPr>
          <a:lstStyle>
            <a:lvl1pPr algn="ctr" defTabSz="457200" rtl="0" eaLnBrk="1" latinLnBrk="0" hangingPunct="1">
              <a:spcBef>
                <a:spcPct val="0"/>
              </a:spcBef>
              <a:buNone/>
              <a:defRPr sz="2800" b="1" kern="1200">
                <a:solidFill>
                  <a:srgbClr val="FFFFFF"/>
                </a:solidFill>
                <a:latin typeface="Century Gothic" panose="020B0502020202020204" pitchFamily="34" charset="0"/>
                <a:ea typeface="+mj-ea"/>
                <a:cs typeface="Arial"/>
              </a:defRPr>
            </a:lvl1pPr>
          </a:lstStyle>
          <a:p>
            <a:pPr algn="l"/>
            <a:r>
              <a:rPr lang="pt-PT" sz="3200" spc="100">
                <a:solidFill>
                  <a:schemeClr val="tx2">
                    <a:lumMod val="75000"/>
                  </a:schemeClr>
                </a:solidFill>
              </a:rPr>
              <a:t>Agenda</a:t>
            </a:r>
            <a:endParaRPr lang="en-US" sz="3200" spc="100">
              <a:solidFill>
                <a:schemeClr val="tx2">
                  <a:lumMod val="75000"/>
                </a:schemeClr>
              </a:solidFill>
            </a:endParaRPr>
          </a:p>
        </p:txBody>
      </p:sp>
      <p:sp>
        <p:nvSpPr>
          <p:cNvPr id="8" name="Rectangle 7">
            <a:extLst>
              <a:ext uri="{FF2B5EF4-FFF2-40B4-BE49-F238E27FC236}">
                <a16:creationId xmlns:a16="http://schemas.microsoft.com/office/drawing/2014/main" id="{C5110406-54C5-4447-892E-A3EE1D20DA56}"/>
              </a:ext>
            </a:extLst>
          </p:cNvPr>
          <p:cNvSpPr/>
          <p:nvPr/>
        </p:nvSpPr>
        <p:spPr>
          <a:xfrm>
            <a:off x="0" y="1156407"/>
            <a:ext cx="4141332" cy="70120"/>
          </a:xfrm>
          <a:prstGeom prst="rect">
            <a:avLst/>
          </a:prstGeom>
          <a:solidFill>
            <a:srgbClr val="975CA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 Placeholder 1">
            <a:extLst>
              <a:ext uri="{FF2B5EF4-FFF2-40B4-BE49-F238E27FC236}">
                <a16:creationId xmlns:a16="http://schemas.microsoft.com/office/drawing/2014/main" id="{19DA1DB9-8019-4136-8206-4F286B49D863}"/>
              </a:ext>
            </a:extLst>
          </p:cNvPr>
          <p:cNvSpPr txBox="1">
            <a:spLocks/>
          </p:cNvSpPr>
          <p:nvPr/>
        </p:nvSpPr>
        <p:spPr>
          <a:xfrm>
            <a:off x="8289055" y="806814"/>
            <a:ext cx="3156018" cy="419714"/>
          </a:xfrm>
          <a:prstGeom prst="rect">
            <a:avLst/>
          </a:prstGeom>
        </p:spPr>
        <p:txBody>
          <a:bodyPr vert="horz" lIns="91440" tIns="45720" rIns="91440" bIns="45720" rtlCol="0">
            <a:normAutofit/>
          </a:bodyPr>
          <a:lstStyle>
            <a:lvl1pPr marL="0" indent="0" algn="l" defTabSz="457200" rtl="0" eaLnBrk="1" latinLnBrk="0" hangingPunct="1">
              <a:lnSpc>
                <a:spcPct val="140000"/>
              </a:lnSpc>
              <a:spcBef>
                <a:spcPct val="20000"/>
              </a:spcBef>
              <a:buFont typeface="Arial"/>
              <a:buNone/>
              <a:defRPr sz="1800" kern="1200">
                <a:solidFill>
                  <a:srgbClr val="FFFFFF"/>
                </a:solidFill>
                <a:latin typeface="+mn-lt"/>
                <a:ea typeface="+mn-ea"/>
                <a:cs typeface="Arial"/>
              </a:defRPr>
            </a:lvl1pPr>
            <a:lvl2pPr marL="457200" indent="0" algn="l" defTabSz="457200" rtl="0" eaLnBrk="1" latinLnBrk="0" hangingPunct="1">
              <a:lnSpc>
                <a:spcPct val="140000"/>
              </a:lnSpc>
              <a:spcBef>
                <a:spcPct val="20000"/>
              </a:spcBef>
              <a:buFont typeface="Arial"/>
              <a:buNone/>
              <a:defRPr sz="1200" kern="1200">
                <a:solidFill>
                  <a:schemeClr val="tx1"/>
                </a:solidFill>
                <a:latin typeface="+mn-lt"/>
                <a:ea typeface="+mn-ea"/>
                <a:cs typeface="+mn-cs"/>
              </a:defRPr>
            </a:lvl2pPr>
            <a:lvl3pPr marL="914400" indent="0" algn="l" defTabSz="457200" rtl="0" eaLnBrk="1" latinLnBrk="0" hangingPunct="1">
              <a:lnSpc>
                <a:spcPct val="140000"/>
              </a:lnSpc>
              <a:spcBef>
                <a:spcPct val="20000"/>
              </a:spcBef>
              <a:buFont typeface="Arial"/>
              <a:buNone/>
              <a:defRPr sz="1000" kern="1200">
                <a:solidFill>
                  <a:schemeClr val="tx1"/>
                </a:solidFill>
                <a:latin typeface="+mn-lt"/>
                <a:ea typeface="+mn-ea"/>
                <a:cs typeface="+mn-cs"/>
              </a:defRPr>
            </a:lvl3pPr>
            <a:lvl4pPr marL="1371600" indent="0" algn="l" defTabSz="457200" rtl="0" eaLnBrk="1" latinLnBrk="0" hangingPunct="1">
              <a:lnSpc>
                <a:spcPct val="140000"/>
              </a:lnSpc>
              <a:spcBef>
                <a:spcPct val="20000"/>
              </a:spcBef>
              <a:buFont typeface="Arial"/>
              <a:buNone/>
              <a:defRPr sz="900" kern="1200">
                <a:solidFill>
                  <a:schemeClr val="tx1"/>
                </a:solidFill>
                <a:latin typeface="+mn-lt"/>
                <a:ea typeface="+mn-ea"/>
                <a:cs typeface="+mn-cs"/>
              </a:defRPr>
            </a:lvl4pPr>
            <a:lvl5pPr marL="1828800" indent="0" algn="l" defTabSz="457200" rtl="0" eaLnBrk="1" latinLnBrk="0" hangingPunct="1">
              <a:lnSpc>
                <a:spcPct val="140000"/>
              </a:lnSpc>
              <a:spcBef>
                <a:spcPct val="20000"/>
              </a:spcBef>
              <a:buFont typeface="Arial"/>
              <a:buNone/>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algn="ctr">
              <a:lnSpc>
                <a:spcPct val="100000"/>
              </a:lnSpc>
            </a:pPr>
            <a:r>
              <a:rPr lang="en-US" b="1" spc="100">
                <a:solidFill>
                  <a:schemeClr val="tx2"/>
                </a:solidFill>
                <a:latin typeface="Century Gothic" panose="020B0502020202020204" pitchFamily="34" charset="0"/>
              </a:rPr>
              <a:t>Reminders:</a:t>
            </a:r>
          </a:p>
        </p:txBody>
      </p:sp>
      <p:sp>
        <p:nvSpPr>
          <p:cNvPr id="10" name="Rectangle 9">
            <a:extLst>
              <a:ext uri="{FF2B5EF4-FFF2-40B4-BE49-F238E27FC236}">
                <a16:creationId xmlns:a16="http://schemas.microsoft.com/office/drawing/2014/main" id="{EEC7C172-2641-4045-B27F-7FA0768AC533}"/>
              </a:ext>
            </a:extLst>
          </p:cNvPr>
          <p:cNvSpPr/>
          <p:nvPr/>
        </p:nvSpPr>
        <p:spPr>
          <a:xfrm>
            <a:off x="9434423" y="1156407"/>
            <a:ext cx="865281" cy="70120"/>
          </a:xfrm>
          <a:prstGeom prst="rect">
            <a:avLst/>
          </a:prstGeom>
          <a:solidFill>
            <a:srgbClr val="975CA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61859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D7E39-C08D-FB3B-1CCC-98C1130B94F3}"/>
              </a:ext>
            </a:extLst>
          </p:cNvPr>
          <p:cNvSpPr>
            <a:spLocks noGrp="1"/>
          </p:cNvSpPr>
          <p:nvPr>
            <p:ph type="title"/>
          </p:nvPr>
        </p:nvSpPr>
        <p:spPr>
          <a:xfrm>
            <a:off x="595545" y="0"/>
            <a:ext cx="5334197" cy="1708242"/>
          </a:xfrm>
        </p:spPr>
        <p:txBody>
          <a:bodyPr anchor="ctr">
            <a:normAutofit/>
          </a:bodyPr>
          <a:lstStyle/>
          <a:p>
            <a:r>
              <a:rPr lang="en-US" dirty="0">
                <a:latin typeface="+mn-lt"/>
                <a:cs typeface="Arial" panose="020B0604020202020204" pitchFamily="34" charset="0"/>
              </a:rPr>
              <a:t>CDC’s Priorities </a:t>
            </a:r>
          </a:p>
        </p:txBody>
      </p:sp>
      <p:sp>
        <p:nvSpPr>
          <p:cNvPr id="5" name="Content Placeholder 4">
            <a:extLst>
              <a:ext uri="{FF2B5EF4-FFF2-40B4-BE49-F238E27FC236}">
                <a16:creationId xmlns:a16="http://schemas.microsoft.com/office/drawing/2014/main" id="{0E3E9A01-EC1C-B7EE-4AB3-76E19CEBB911}"/>
              </a:ext>
            </a:extLst>
          </p:cNvPr>
          <p:cNvSpPr>
            <a:spLocks noGrp="1"/>
          </p:cNvSpPr>
          <p:nvPr>
            <p:ph idx="1"/>
          </p:nvPr>
        </p:nvSpPr>
        <p:spPr>
          <a:xfrm>
            <a:off x="445916" y="1537076"/>
            <a:ext cx="5650084" cy="4400550"/>
          </a:xfrm>
        </p:spPr>
        <p:txBody>
          <a:bodyPr anchor="ctr">
            <a:normAutofit/>
          </a:bodyPr>
          <a:lstStyle/>
          <a:p>
            <a:pPr marR="0" lvl="0">
              <a:spcBef>
                <a:spcPts val="1200"/>
              </a:spcBef>
            </a:pPr>
            <a:r>
              <a:rPr lang="en-US" dirty="0">
                <a:cs typeface="Arial" panose="020B0604020202020204" pitchFamily="34" charset="0"/>
              </a:rPr>
              <a:t>Supporting and engaging  public health and agricultural partners</a:t>
            </a:r>
          </a:p>
          <a:p>
            <a:pPr marR="0" lvl="0">
              <a:spcBef>
                <a:spcPts val="1200"/>
              </a:spcBef>
            </a:pPr>
            <a:r>
              <a:rPr lang="en-US" dirty="0">
                <a:cs typeface="Arial" panose="020B0604020202020204" pitchFamily="34" charset="0"/>
              </a:rPr>
              <a:t>Protecting human health and safety </a:t>
            </a:r>
          </a:p>
          <a:p>
            <a:pPr marR="0" lvl="0">
              <a:spcBef>
                <a:spcPts val="1200"/>
              </a:spcBef>
            </a:pPr>
            <a:r>
              <a:rPr lang="en-US" dirty="0">
                <a:cs typeface="Arial" panose="020B0604020202020204" pitchFamily="34" charset="0"/>
              </a:rPr>
              <a:t>Understanding risk to people from highly pathogenic avian influenza (HPAI) A(H5N1) viruses</a:t>
            </a:r>
          </a:p>
          <a:p>
            <a:pPr marR="0" lvl="0">
              <a:spcBef>
                <a:spcPts val="1200"/>
              </a:spcBef>
            </a:pPr>
            <a:r>
              <a:rPr lang="en-US" dirty="0">
                <a:cs typeface="Arial" panose="020B0604020202020204" pitchFamily="34" charset="0"/>
              </a:rPr>
              <a:t>Assessing HPAI A(H5N1) viruses for genetic changes</a:t>
            </a:r>
          </a:p>
        </p:txBody>
      </p:sp>
      <p:pic>
        <p:nvPicPr>
          <p:cNvPr id="6" name="Picture 5" descr="A bird flying in the sky&#10;&#10;Description automatically generated with medium confidence">
            <a:extLst>
              <a:ext uri="{FF2B5EF4-FFF2-40B4-BE49-F238E27FC236}">
                <a16:creationId xmlns:a16="http://schemas.microsoft.com/office/drawing/2014/main" id="{ECED11CD-F221-D97B-F66C-79B773CAF091}"/>
              </a:ext>
            </a:extLst>
          </p:cNvPr>
          <p:cNvPicPr>
            <a:picLocks noChangeAspect="1"/>
          </p:cNvPicPr>
          <p:nvPr/>
        </p:nvPicPr>
        <p:blipFill rotWithShape="1">
          <a:blip r:embed="rId3"/>
          <a:srcRect l="31477" r="24841" b="-1"/>
          <a:stretch/>
        </p:blipFill>
        <p:spPr>
          <a:xfrm>
            <a:off x="6857797" y="-10886"/>
            <a:ext cx="5334204" cy="6868886"/>
          </a:xfrm>
          <a:prstGeom prst="rect">
            <a:avLst/>
          </a:prstGeom>
          <a:effectLst>
            <a:outerShdw blurRad="127000" dist="50800" dir="10800000" sx="99000" sy="99000" algn="r" rotWithShape="0">
              <a:prstClr val="black">
                <a:alpha val="40000"/>
              </a:prstClr>
            </a:outerShdw>
          </a:effectLst>
        </p:spPr>
      </p:pic>
    </p:spTree>
    <p:extLst>
      <p:ext uri="{BB962C8B-B14F-4D97-AF65-F5344CB8AC3E}">
        <p14:creationId xmlns:p14="http://schemas.microsoft.com/office/powerpoint/2010/main" val="24274319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834FF-DF84-3901-B60F-806EA7E84996}"/>
              </a:ext>
              <a:ext uri="{C183D7F6-B498-43B3-948B-1728B52AA6E4}">
                <adec:decorative xmlns:adec="http://schemas.microsoft.com/office/drawing/2017/decorative" val="0"/>
              </a:ext>
            </a:extLst>
          </p:cNvPr>
          <p:cNvSpPr>
            <a:spLocks noGrp="1"/>
          </p:cNvSpPr>
          <p:nvPr>
            <p:ph type="title"/>
          </p:nvPr>
        </p:nvSpPr>
        <p:spPr>
          <a:xfrm>
            <a:off x="450669" y="223512"/>
            <a:ext cx="10515600" cy="1325563"/>
          </a:xfrm>
        </p:spPr>
        <p:txBody>
          <a:bodyPr/>
          <a:lstStyle/>
          <a:p>
            <a:r>
              <a:rPr lang="en-US" dirty="0">
                <a:latin typeface="+mn-lt"/>
                <a:cs typeface="Arial" panose="020B0604020202020204" pitchFamily="34" charset="0"/>
              </a:rPr>
              <a:t>H5N1 Situation Update – Dairy Herds</a:t>
            </a:r>
          </a:p>
        </p:txBody>
      </p:sp>
      <p:sp>
        <p:nvSpPr>
          <p:cNvPr id="3" name="Content Placeholder 2">
            <a:extLst>
              <a:ext uri="{FF2B5EF4-FFF2-40B4-BE49-F238E27FC236}">
                <a16:creationId xmlns:a16="http://schemas.microsoft.com/office/drawing/2014/main" id="{348F7CD2-4601-18CF-2147-0A51D93A6B30}"/>
              </a:ext>
            </a:extLst>
          </p:cNvPr>
          <p:cNvSpPr>
            <a:spLocks noGrp="1"/>
          </p:cNvSpPr>
          <p:nvPr>
            <p:ph idx="1"/>
          </p:nvPr>
        </p:nvSpPr>
        <p:spPr>
          <a:xfrm>
            <a:off x="255357" y="1716473"/>
            <a:ext cx="5396062" cy="4442840"/>
          </a:xfrm>
        </p:spPr>
        <p:txBody>
          <a:bodyPr vert="horz" lIns="91440" tIns="45720" rIns="91440" bIns="45720" rtlCol="0" anchor="t">
            <a:noAutofit/>
          </a:bodyPr>
          <a:lstStyle/>
          <a:p>
            <a:pPr marL="457200" indent="-457200">
              <a:spcBef>
                <a:spcPts val="1200"/>
              </a:spcBef>
            </a:pPr>
            <a:r>
              <a:rPr lang="en-US" sz="3000" dirty="0">
                <a:cs typeface="Arial" panose="020B0604020202020204" pitchFamily="34" charset="0"/>
              </a:rPr>
              <a:t>To date, USDA confirmed HPAI A(H5N1) in dairy herds in </a:t>
            </a:r>
            <a:r>
              <a:rPr lang="en-US" sz="3000" b="1" dirty="0">
                <a:cs typeface="Arial" panose="020B0604020202020204" pitchFamily="34" charset="0"/>
              </a:rPr>
              <a:t>&gt;190 farms across 13 states</a:t>
            </a:r>
            <a:endParaRPr lang="en-US" sz="3000" dirty="0">
              <a:cs typeface="Arial" panose="020B0604020202020204" pitchFamily="34" charset="0"/>
            </a:endParaRPr>
          </a:p>
          <a:p>
            <a:pPr marL="914400" lvl="1">
              <a:spcBef>
                <a:spcPts val="1200"/>
              </a:spcBef>
              <a:buFont typeface="Wingdings" panose="05000000000000000000" pitchFamily="2" charset="2"/>
              <a:buChar char="§"/>
            </a:pPr>
            <a:r>
              <a:rPr lang="en-US" dirty="0">
                <a:cs typeface="Arial"/>
              </a:rPr>
              <a:t>Dairy cow illness was observed in early 2024 </a:t>
            </a:r>
          </a:p>
          <a:p>
            <a:pPr marL="914400" lvl="1">
              <a:spcBef>
                <a:spcPts val="1200"/>
              </a:spcBef>
              <a:buFont typeface="Wingdings" panose="05000000000000000000" pitchFamily="2" charset="2"/>
              <a:buChar char="§"/>
            </a:pPr>
            <a:r>
              <a:rPr lang="en-US" dirty="0">
                <a:cs typeface="Arial" panose="020B0604020202020204" pitchFamily="34" charset="0"/>
              </a:rPr>
              <a:t>Significant decreases in milk production and quality</a:t>
            </a:r>
          </a:p>
          <a:p>
            <a:pPr marL="914400" lvl="1">
              <a:spcBef>
                <a:spcPts val="1200"/>
              </a:spcBef>
              <a:buFont typeface="Wingdings" panose="05000000000000000000" pitchFamily="2" charset="2"/>
              <a:buChar char="§"/>
            </a:pPr>
            <a:r>
              <a:rPr lang="en-US" b="1" dirty="0">
                <a:cs typeface="Arial" panose="020B0604020202020204" pitchFamily="34" charset="0"/>
              </a:rPr>
              <a:t>March 25, 2024</a:t>
            </a:r>
            <a:r>
              <a:rPr lang="en-US" dirty="0">
                <a:cs typeface="Arial" panose="020B0604020202020204" pitchFamily="34" charset="0"/>
              </a:rPr>
              <a:t>: USDA reported HPAI A(H5N1) confirmed in cows from Texas and Kansas</a:t>
            </a:r>
          </a:p>
        </p:txBody>
      </p:sp>
      <p:sp>
        <p:nvSpPr>
          <p:cNvPr id="5" name="TextBox 4">
            <a:extLst>
              <a:ext uri="{FF2B5EF4-FFF2-40B4-BE49-F238E27FC236}">
                <a16:creationId xmlns:a16="http://schemas.microsoft.com/office/drawing/2014/main" id="{82DFAEA8-0060-72E8-4C7F-1138405D4560}"/>
              </a:ext>
            </a:extLst>
          </p:cNvPr>
          <p:cNvSpPr txBox="1"/>
          <p:nvPr/>
        </p:nvSpPr>
        <p:spPr>
          <a:xfrm>
            <a:off x="1234440" y="6326711"/>
            <a:ext cx="984540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3"/>
              </a:rPr>
              <a:t>Highly Pathogenic Avian Influenza (HPAI) Detections in Livestock | Animal and Plant Health Inspection Service (usda.gov)</a:t>
            </a: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81F75051-6449-4207-5AA5-13493F297EA8}"/>
              </a:ext>
            </a:extLst>
          </p:cNvPr>
          <p:cNvPicPr>
            <a:picLocks noChangeAspect="1"/>
          </p:cNvPicPr>
          <p:nvPr/>
        </p:nvPicPr>
        <p:blipFill>
          <a:blip r:embed="rId4"/>
          <a:stretch>
            <a:fillRect/>
          </a:stretch>
        </p:blipFill>
        <p:spPr>
          <a:xfrm>
            <a:off x="5708469" y="1549075"/>
            <a:ext cx="6089912" cy="4442840"/>
          </a:xfrm>
          <a:prstGeom prst="rect">
            <a:avLst/>
          </a:prstGeom>
        </p:spPr>
      </p:pic>
    </p:spTree>
    <p:extLst>
      <p:ext uri="{BB962C8B-B14F-4D97-AF65-F5344CB8AC3E}">
        <p14:creationId xmlns:p14="http://schemas.microsoft.com/office/powerpoint/2010/main" val="22648217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4E8E59-AB9D-3E76-D61A-2CA2EF82DC89}"/>
              </a:ext>
            </a:extLst>
          </p:cNvPr>
          <p:cNvSpPr>
            <a:spLocks noGrp="1"/>
          </p:cNvSpPr>
          <p:nvPr>
            <p:ph type="body" sz="quarter" idx="10"/>
          </p:nvPr>
        </p:nvSpPr>
        <p:spPr>
          <a:xfrm>
            <a:off x="328925" y="1139501"/>
            <a:ext cx="7062475" cy="5301526"/>
          </a:xfrm>
        </p:spPr>
        <p:txBody>
          <a:bodyPr vert="horz" lIns="91440" tIns="45720" rIns="91440" bIns="45720" rtlCol="0" anchor="t">
            <a:noAutofit/>
          </a:bodyPr>
          <a:lstStyle/>
          <a:p>
            <a:pPr marL="287020" indent="-287020">
              <a:lnSpc>
                <a:spcPct val="90000"/>
              </a:lnSpc>
              <a:spcBef>
                <a:spcPts val="1200"/>
              </a:spcBef>
            </a:pPr>
            <a:r>
              <a:rPr lang="en-US" sz="2800" b="1" dirty="0">
                <a:cs typeface="Calibri"/>
              </a:rPr>
              <a:t>Human cases (n=14</a:t>
            </a:r>
            <a:r>
              <a:rPr lang="en-US" sz="2800" dirty="0">
                <a:cs typeface="Calibri"/>
              </a:rPr>
              <a:t>), 13 associated with the current 2024 outbreak</a:t>
            </a:r>
            <a:r>
              <a:rPr lang="en-US" sz="2800" b="1" dirty="0">
                <a:cs typeface="Calibri"/>
              </a:rPr>
              <a:t> </a:t>
            </a:r>
            <a:endParaRPr lang="en-US" dirty="0"/>
          </a:p>
          <a:p>
            <a:pPr marL="801370" lvl="1" indent="-344170">
              <a:lnSpc>
                <a:spcPct val="90000"/>
              </a:lnSpc>
              <a:spcBef>
                <a:spcPts val="1200"/>
              </a:spcBef>
              <a:buFont typeface="Arial" panose="020B0604020202020204" pitchFamily="34" charset="0"/>
              <a:buChar char="•"/>
            </a:pPr>
            <a:r>
              <a:rPr lang="en-US" b="1" dirty="0">
                <a:cs typeface="Calibri"/>
              </a:rPr>
              <a:t>Associated with dairy cattle exposures: 4</a:t>
            </a:r>
            <a:endParaRPr lang="en-US" dirty="0">
              <a:cs typeface="Calibri"/>
            </a:endParaRPr>
          </a:p>
          <a:p>
            <a:pPr lvl="2">
              <a:lnSpc>
                <a:spcPct val="90000"/>
              </a:lnSpc>
              <a:spcBef>
                <a:spcPts val="600"/>
              </a:spcBef>
              <a:buFont typeface="Wingdings" panose="05000000000000000000" pitchFamily="2" charset="2"/>
              <a:buChar char="§"/>
            </a:pPr>
            <a:r>
              <a:rPr lang="en-US" sz="2000" dirty="0">
                <a:cs typeface="Calibri"/>
              </a:rPr>
              <a:t>March - July 2024: 4 cases in dairy farm workers (Texas, Michigan (2), Colorado) with exposure to infected or presumed infected dairy cattle</a:t>
            </a:r>
          </a:p>
          <a:p>
            <a:pPr lvl="2">
              <a:lnSpc>
                <a:spcPct val="90000"/>
              </a:lnSpc>
              <a:spcBef>
                <a:spcPts val="600"/>
              </a:spcBef>
              <a:buFont typeface="Wingdings" panose="05000000000000000000" pitchFamily="2" charset="2"/>
              <a:buChar char="§"/>
            </a:pPr>
            <a:r>
              <a:rPr lang="en-US" sz="2000" dirty="0">
                <a:cs typeface="Calibri"/>
              </a:rPr>
              <a:t>All cases were clinically mild, offered antivirals, not hospitalized </a:t>
            </a:r>
          </a:p>
          <a:p>
            <a:pPr marL="801370" lvl="1" indent="-344170">
              <a:lnSpc>
                <a:spcPct val="90000"/>
              </a:lnSpc>
              <a:spcBef>
                <a:spcPts val="1200"/>
              </a:spcBef>
              <a:buFont typeface="Arial" panose="020B0604020202020204" pitchFamily="34" charset="0"/>
              <a:buChar char="•"/>
            </a:pPr>
            <a:r>
              <a:rPr lang="en-US" b="1" dirty="0">
                <a:cs typeface="Calibri"/>
              </a:rPr>
              <a:t>Associated with poultry exposures: 10</a:t>
            </a:r>
            <a:endParaRPr lang="en-US" dirty="0">
              <a:cs typeface="Calibri"/>
            </a:endParaRPr>
          </a:p>
          <a:p>
            <a:pPr lvl="2">
              <a:lnSpc>
                <a:spcPct val="90000"/>
              </a:lnSpc>
              <a:spcBef>
                <a:spcPts val="600"/>
              </a:spcBef>
              <a:buFont typeface="Wingdings" panose="05000000000000000000" pitchFamily="2" charset="2"/>
              <a:buChar char="§"/>
            </a:pPr>
            <a:r>
              <a:rPr lang="en-US" sz="2000" dirty="0">
                <a:cs typeface="Calibri"/>
              </a:rPr>
              <a:t>April 2022: 1 case depopulating poultry (Colorado)</a:t>
            </a:r>
          </a:p>
          <a:p>
            <a:pPr lvl="2">
              <a:lnSpc>
                <a:spcPct val="90000"/>
              </a:lnSpc>
              <a:spcBef>
                <a:spcPts val="600"/>
              </a:spcBef>
              <a:buFont typeface="Wingdings" panose="05000000000000000000" pitchFamily="2" charset="2"/>
              <a:buChar char="§"/>
            </a:pPr>
            <a:r>
              <a:rPr lang="en-US" sz="2000" dirty="0">
                <a:cs typeface="Calibri"/>
              </a:rPr>
              <a:t>July 2024: 9 cases in workers depopulating poultry (Colorado)</a:t>
            </a:r>
          </a:p>
          <a:p>
            <a:pPr lvl="2">
              <a:lnSpc>
                <a:spcPct val="90000"/>
              </a:lnSpc>
              <a:spcBef>
                <a:spcPts val="600"/>
              </a:spcBef>
              <a:buFont typeface="Wingdings" panose="05000000000000000000" pitchFamily="2" charset="2"/>
              <a:buChar char="§"/>
            </a:pPr>
            <a:r>
              <a:rPr lang="en-US" sz="2000" dirty="0">
                <a:cs typeface="Calibri"/>
              </a:rPr>
              <a:t>All cases were clinically mild, offered antivirals, not hospitalized </a:t>
            </a:r>
          </a:p>
          <a:p>
            <a:pPr marL="801370" lvl="1" indent="-344170">
              <a:lnSpc>
                <a:spcPct val="90000"/>
              </a:lnSpc>
              <a:spcBef>
                <a:spcPts val="1200"/>
              </a:spcBef>
              <a:buFont typeface="Arial" panose="020B0604020202020204" pitchFamily="34" charset="0"/>
              <a:buChar char="•"/>
            </a:pPr>
            <a:r>
              <a:rPr lang="en-US" b="1" dirty="0">
                <a:cs typeface="Calibri"/>
              </a:rPr>
              <a:t>No human-to-human transmission</a:t>
            </a:r>
          </a:p>
          <a:p>
            <a:pPr lvl="2">
              <a:lnSpc>
                <a:spcPct val="90000"/>
              </a:lnSpc>
              <a:spcBef>
                <a:spcPts val="1200"/>
              </a:spcBef>
              <a:buFont typeface="Arial" panose="020B0604020202020204" pitchFamily="34" charset="0"/>
              <a:buChar char="•"/>
            </a:pPr>
            <a:endParaRPr lang="en-US" dirty="0">
              <a:cs typeface="Calibri"/>
            </a:endParaRPr>
          </a:p>
          <a:p>
            <a:pPr marL="801370" lvl="1" indent="-344170">
              <a:lnSpc>
                <a:spcPct val="90000"/>
              </a:lnSpc>
              <a:spcBef>
                <a:spcPts val="1200"/>
              </a:spcBef>
              <a:buFont typeface="Arial" panose="020B0604020202020204" pitchFamily="34" charset="0"/>
              <a:buChar char="•"/>
            </a:pPr>
            <a:endParaRPr lang="en-US" b="1" dirty="0">
              <a:cs typeface="Calibri"/>
            </a:endParaRPr>
          </a:p>
          <a:p>
            <a:pPr marL="287020" indent="-287020">
              <a:lnSpc>
                <a:spcPct val="90000"/>
              </a:lnSpc>
              <a:spcBef>
                <a:spcPts val="1200"/>
              </a:spcBef>
            </a:pPr>
            <a:endParaRPr lang="en-US" dirty="0">
              <a:cs typeface="Calibri"/>
            </a:endParaRPr>
          </a:p>
          <a:p>
            <a:pPr marL="287020" indent="-287020">
              <a:lnSpc>
                <a:spcPct val="90000"/>
              </a:lnSpc>
              <a:spcBef>
                <a:spcPts val="1200"/>
              </a:spcBef>
            </a:pPr>
            <a:endParaRPr lang="en-US" dirty="0">
              <a:cs typeface="Calibri"/>
            </a:endParaRPr>
          </a:p>
          <a:p>
            <a:pPr marL="287020" indent="-287020">
              <a:lnSpc>
                <a:spcPct val="90000"/>
              </a:lnSpc>
              <a:spcBef>
                <a:spcPts val="1200"/>
              </a:spcBef>
            </a:pPr>
            <a:endParaRPr lang="en-US" dirty="0">
              <a:cs typeface="Calibri"/>
            </a:endParaRPr>
          </a:p>
          <a:p>
            <a:pPr marL="287020" indent="-287020">
              <a:lnSpc>
                <a:spcPct val="90000"/>
              </a:lnSpc>
              <a:spcBef>
                <a:spcPts val="1200"/>
              </a:spcBef>
            </a:pPr>
            <a:endParaRPr lang="en-US" dirty="0">
              <a:cs typeface="Calibri"/>
            </a:endParaRPr>
          </a:p>
          <a:p>
            <a:pPr marL="287020" indent="-287020">
              <a:lnSpc>
                <a:spcPct val="90000"/>
              </a:lnSpc>
              <a:spcBef>
                <a:spcPts val="1200"/>
              </a:spcBef>
            </a:pPr>
            <a:endParaRPr lang="en-US" dirty="0">
              <a:latin typeface="Calibri" panose="020F0502020204030204" pitchFamily="34" charset="0"/>
              <a:ea typeface="Calibri" panose="020F0502020204030204" pitchFamily="34" charset="0"/>
              <a:cs typeface="Calibri"/>
            </a:endParaRPr>
          </a:p>
          <a:p>
            <a:pPr marL="801370" lvl="1" indent="-344170">
              <a:lnSpc>
                <a:spcPct val="90000"/>
              </a:lnSpc>
              <a:spcBef>
                <a:spcPts val="1200"/>
              </a:spcBef>
              <a:buFont typeface="Arial" panose="020B0604020202020204" pitchFamily="34" charset="0"/>
              <a:buChar char="•"/>
            </a:pPr>
            <a:endParaRPr lang="en-US" sz="2200" dirty="0">
              <a:latin typeface="Calibri" panose="020F0502020204030204" pitchFamily="34" charset="0"/>
              <a:ea typeface="Calibri" panose="020F0502020204030204" pitchFamily="34" charset="0"/>
              <a:cs typeface="Calibri"/>
            </a:endParaRPr>
          </a:p>
          <a:p>
            <a:pPr marL="801370" lvl="1" indent="-344170">
              <a:lnSpc>
                <a:spcPct val="90000"/>
              </a:lnSpc>
              <a:spcBef>
                <a:spcPts val="1200"/>
              </a:spcBef>
              <a:buFont typeface="Arial" panose="020B0604020202020204" pitchFamily="34" charset="0"/>
              <a:buChar char="•"/>
            </a:pPr>
            <a:endParaRPr lang="en-US" dirty="0">
              <a:latin typeface="Calibri" panose="020F0502020204030204" pitchFamily="34" charset="0"/>
              <a:ea typeface="Calibri" panose="020F0502020204030204" pitchFamily="34" charset="0"/>
              <a:cs typeface="Calibri"/>
            </a:endParaRPr>
          </a:p>
          <a:p>
            <a:pPr marL="287020" indent="-287020">
              <a:lnSpc>
                <a:spcPct val="90000"/>
              </a:lnSpc>
              <a:spcBef>
                <a:spcPts val="1200"/>
              </a:spcBef>
            </a:pPr>
            <a:endParaRPr lang="en-US" dirty="0">
              <a:latin typeface="Calibri" panose="020F0502020204030204" pitchFamily="34" charset="0"/>
              <a:ea typeface="Calibri" panose="020F0502020204030204" pitchFamily="34" charset="0"/>
              <a:cs typeface="Calibri"/>
            </a:endParaRPr>
          </a:p>
          <a:p>
            <a:pPr marL="287020" indent="-287020">
              <a:lnSpc>
                <a:spcPct val="90000"/>
              </a:lnSpc>
              <a:spcBef>
                <a:spcPts val="1200"/>
              </a:spcBef>
            </a:pPr>
            <a:endParaRPr lang="en-US" dirty="0">
              <a:latin typeface="Calibri" panose="020F0502020204030204" pitchFamily="34" charset="0"/>
              <a:ea typeface="Calibri" panose="020F0502020204030204" pitchFamily="34" charset="0"/>
              <a:cs typeface="Calibri"/>
            </a:endParaRPr>
          </a:p>
          <a:p>
            <a:pPr marL="287020" indent="-287020">
              <a:lnSpc>
                <a:spcPct val="90000"/>
              </a:lnSpc>
              <a:spcBef>
                <a:spcPts val="1200"/>
              </a:spcBef>
            </a:pPr>
            <a:endParaRPr lang="en-US" dirty="0">
              <a:latin typeface="Calibri" panose="020F0502020204030204" pitchFamily="34" charset="0"/>
              <a:ea typeface="Calibri" panose="020F0502020204030204" pitchFamily="34" charset="0"/>
              <a:cs typeface="Calibri"/>
            </a:endParaRPr>
          </a:p>
          <a:p>
            <a:pPr marL="287020" indent="-287020">
              <a:lnSpc>
                <a:spcPct val="90000"/>
              </a:lnSpc>
              <a:spcBef>
                <a:spcPts val="1200"/>
              </a:spcBef>
            </a:pPr>
            <a:endParaRPr lang="en-US" dirty="0">
              <a:solidFill>
                <a:srgbClr val="000000"/>
              </a:solidFill>
              <a:latin typeface="Calibri" panose="020F0502020204030204" pitchFamily="34" charset="0"/>
              <a:ea typeface="Calibri" panose="020F0502020204030204" pitchFamily="34" charset="0"/>
              <a:cs typeface="Calibri"/>
            </a:endParaRPr>
          </a:p>
        </p:txBody>
      </p:sp>
      <p:sp>
        <p:nvSpPr>
          <p:cNvPr id="3" name="Title 2">
            <a:extLst>
              <a:ext uri="{FF2B5EF4-FFF2-40B4-BE49-F238E27FC236}">
                <a16:creationId xmlns:a16="http://schemas.microsoft.com/office/drawing/2014/main" id="{854CBA8B-C5D5-53B7-A9A9-774FB213BCF6}"/>
              </a:ext>
            </a:extLst>
          </p:cNvPr>
          <p:cNvSpPr>
            <a:spLocks noGrp="1"/>
          </p:cNvSpPr>
          <p:nvPr>
            <p:ph type="title"/>
          </p:nvPr>
        </p:nvSpPr>
        <p:spPr>
          <a:xfrm>
            <a:off x="471280" y="-106847"/>
            <a:ext cx="11249439" cy="1143000"/>
          </a:xfrm>
        </p:spPr>
        <p:txBody>
          <a:bodyPr>
            <a:normAutofit/>
          </a:bodyPr>
          <a:lstStyle/>
          <a:p>
            <a:pPr>
              <a:lnSpc>
                <a:spcPct val="142247"/>
              </a:lnSpc>
            </a:pPr>
            <a:r>
              <a:rPr lang="en-US" sz="3600" dirty="0">
                <a:solidFill>
                  <a:schemeClr val="accent1">
                    <a:lumMod val="50000"/>
                  </a:schemeClr>
                </a:solidFill>
                <a:latin typeface="Calibri"/>
                <a:cs typeface="Calibri"/>
              </a:rPr>
              <a:t>HPAI A(H5) Human Cases, United States, 2022-2024 </a:t>
            </a:r>
          </a:p>
        </p:txBody>
      </p:sp>
      <p:pic>
        <p:nvPicPr>
          <p:cNvPr id="5" name="Picture 4">
            <a:extLst>
              <a:ext uri="{FF2B5EF4-FFF2-40B4-BE49-F238E27FC236}">
                <a16:creationId xmlns:a16="http://schemas.microsoft.com/office/drawing/2014/main" id="{AFD7177A-A26A-B53A-07E7-8D54AA7A22D4}"/>
              </a:ext>
            </a:extLst>
          </p:cNvPr>
          <p:cNvPicPr>
            <a:picLocks noChangeAspect="1"/>
          </p:cNvPicPr>
          <p:nvPr/>
        </p:nvPicPr>
        <p:blipFill>
          <a:blip r:embed="rId3"/>
          <a:stretch>
            <a:fillRect/>
          </a:stretch>
        </p:blipFill>
        <p:spPr>
          <a:xfrm>
            <a:off x="7546226" y="2042267"/>
            <a:ext cx="4316849" cy="3406033"/>
          </a:xfrm>
          <a:prstGeom prst="rect">
            <a:avLst/>
          </a:prstGeom>
          <a:ln>
            <a:solidFill>
              <a:schemeClr val="bg1">
                <a:lumMod val="85000"/>
              </a:schemeClr>
            </a:solidFill>
          </a:ln>
        </p:spPr>
      </p:pic>
    </p:spTree>
    <p:extLst>
      <p:ext uri="{BB962C8B-B14F-4D97-AF65-F5344CB8AC3E}">
        <p14:creationId xmlns:p14="http://schemas.microsoft.com/office/powerpoint/2010/main" val="15146622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7C61D-4761-E6B1-EE94-81A25FC6BD89}"/>
              </a:ext>
            </a:extLst>
          </p:cNvPr>
          <p:cNvSpPr>
            <a:spLocks noGrp="1"/>
          </p:cNvSpPr>
          <p:nvPr>
            <p:ph type="title"/>
          </p:nvPr>
        </p:nvSpPr>
        <p:spPr>
          <a:xfrm>
            <a:off x="838200" y="365125"/>
            <a:ext cx="10866120" cy="1091102"/>
          </a:xfrm>
        </p:spPr>
        <p:txBody>
          <a:bodyPr>
            <a:normAutofit/>
          </a:bodyPr>
          <a:lstStyle/>
          <a:p>
            <a:r>
              <a:rPr lang="en-US" b="1" i="0" u="none" strike="noStrike" dirty="0">
                <a:solidFill>
                  <a:srgbClr val="00327A"/>
                </a:solidFill>
                <a:effectLst/>
                <a:latin typeface="+mn-lt"/>
                <a:cs typeface="Calibri Light"/>
              </a:rPr>
              <a:t>H5 Human Cases</a:t>
            </a:r>
            <a:r>
              <a:rPr lang="en-US" dirty="0">
                <a:latin typeface="+mn-lt"/>
                <a:cs typeface="Calibri Light"/>
              </a:rPr>
              <a:t>– Virus Sequences to Date</a:t>
            </a:r>
          </a:p>
        </p:txBody>
      </p:sp>
      <p:sp>
        <p:nvSpPr>
          <p:cNvPr id="3" name="Content Placeholder 2">
            <a:extLst>
              <a:ext uri="{FF2B5EF4-FFF2-40B4-BE49-F238E27FC236}">
                <a16:creationId xmlns:a16="http://schemas.microsoft.com/office/drawing/2014/main" id="{B50789B0-0119-8803-988F-D68ACBE84899}"/>
              </a:ext>
            </a:extLst>
          </p:cNvPr>
          <p:cNvSpPr>
            <a:spLocks noGrp="1"/>
          </p:cNvSpPr>
          <p:nvPr>
            <p:ph idx="1"/>
          </p:nvPr>
        </p:nvSpPr>
        <p:spPr>
          <a:xfrm>
            <a:off x="590550" y="1697983"/>
            <a:ext cx="11010900" cy="4063625"/>
          </a:xfrm>
        </p:spPr>
        <p:txBody>
          <a:bodyPr>
            <a:normAutofit fontScale="92500"/>
          </a:bodyPr>
          <a:lstStyle/>
          <a:p>
            <a:pPr algn="l" rtl="0" fontAlgn="base">
              <a:spcBef>
                <a:spcPts val="1200"/>
              </a:spcBef>
              <a:buFont typeface="Arial" panose="020B0604020202020204" pitchFamily="34" charset="0"/>
              <a:buChar char="•"/>
            </a:pPr>
            <a:r>
              <a:rPr lang="en-US" dirty="0">
                <a:solidFill>
                  <a:srgbClr val="000000"/>
                </a:solidFill>
              </a:rPr>
              <a:t>S</a:t>
            </a:r>
            <a:r>
              <a:rPr lang="en-US" i="0" u="none" strike="noStrike" dirty="0">
                <a:solidFill>
                  <a:srgbClr val="000000"/>
                </a:solidFill>
                <a:effectLst/>
              </a:rPr>
              <a:t>equences maintain primarily avian genetic characteristics and lack changes that would make the virus better adapted to infect or spread among humans</a:t>
            </a:r>
          </a:p>
          <a:p>
            <a:pPr algn="l" rtl="0" fontAlgn="base">
              <a:spcBef>
                <a:spcPts val="1200"/>
              </a:spcBef>
              <a:buFont typeface="Arial" panose="020B0604020202020204" pitchFamily="34" charset="0"/>
              <a:buChar char="•"/>
            </a:pPr>
            <a:r>
              <a:rPr lang="en-US" b="1" i="0" u="none" strike="noStrike" dirty="0">
                <a:solidFill>
                  <a:srgbClr val="000000"/>
                </a:solidFill>
                <a:effectLst/>
              </a:rPr>
              <a:t>Diagnostics</a:t>
            </a:r>
            <a:r>
              <a:rPr lang="en-US" i="0" u="none" strike="noStrike" dirty="0">
                <a:solidFill>
                  <a:srgbClr val="000000"/>
                </a:solidFill>
                <a:effectLst/>
              </a:rPr>
              <a:t>: N</a:t>
            </a:r>
            <a:r>
              <a:rPr lang="en-US" b="0" i="0" u="none" strike="noStrike" dirty="0">
                <a:solidFill>
                  <a:srgbClr val="000000"/>
                </a:solidFill>
                <a:effectLst/>
              </a:rPr>
              <a:t>o impact to current CDC influenza diagnostic assay's ability to detect A(H5N1) viruses </a:t>
            </a:r>
            <a:r>
              <a:rPr lang="en-US" b="0" i="0" dirty="0">
                <a:solidFill>
                  <a:srgbClr val="000000"/>
                </a:solidFill>
                <a:effectLst/>
              </a:rPr>
              <a:t>​</a:t>
            </a:r>
          </a:p>
          <a:p>
            <a:pPr algn="l" rtl="0" fontAlgn="base">
              <a:spcBef>
                <a:spcPts val="1200"/>
              </a:spcBef>
              <a:buFont typeface="Arial" panose="020B0604020202020204" pitchFamily="34" charset="0"/>
              <a:buChar char="•"/>
            </a:pPr>
            <a:r>
              <a:rPr lang="en-US" b="1" i="0" u="none" strike="noStrike" dirty="0">
                <a:solidFill>
                  <a:srgbClr val="000000"/>
                </a:solidFill>
                <a:effectLst/>
              </a:rPr>
              <a:t>Treatments</a:t>
            </a:r>
            <a:r>
              <a:rPr lang="en-US" i="0" u="none" strike="noStrike" dirty="0">
                <a:solidFill>
                  <a:srgbClr val="000000"/>
                </a:solidFill>
                <a:effectLst/>
              </a:rPr>
              <a:t>: N</a:t>
            </a:r>
            <a:r>
              <a:rPr lang="en-US" b="0" i="0" u="none" strike="noStrike" dirty="0">
                <a:solidFill>
                  <a:srgbClr val="000000"/>
                </a:solidFill>
                <a:effectLst/>
              </a:rPr>
              <a:t>o known markers of resistance to FDA approved and recommended antiviral drugs </a:t>
            </a:r>
            <a:r>
              <a:rPr lang="en-US" b="0" i="0" dirty="0">
                <a:solidFill>
                  <a:srgbClr val="000000"/>
                </a:solidFill>
                <a:effectLst/>
              </a:rPr>
              <a:t>​</a:t>
            </a:r>
          </a:p>
          <a:p>
            <a:pPr algn="l" rtl="0" fontAlgn="base">
              <a:spcBef>
                <a:spcPts val="1200"/>
              </a:spcBef>
              <a:buFont typeface="Arial" panose="020B0604020202020204" pitchFamily="34" charset="0"/>
              <a:buChar char="•"/>
            </a:pPr>
            <a:r>
              <a:rPr lang="en-US" b="1" i="0" u="none" strike="noStrike" dirty="0">
                <a:solidFill>
                  <a:srgbClr val="000000"/>
                </a:solidFill>
                <a:effectLst/>
              </a:rPr>
              <a:t>Candidate Vaccine Viruses</a:t>
            </a:r>
            <a:r>
              <a:rPr lang="en-US" b="0" i="0" u="none" strike="noStrike" dirty="0">
                <a:solidFill>
                  <a:srgbClr val="000000"/>
                </a:solidFill>
                <a:effectLst/>
              </a:rPr>
              <a:t> (CVVs)</a:t>
            </a:r>
            <a:r>
              <a:rPr lang="en-US" b="0" i="0" dirty="0">
                <a:solidFill>
                  <a:srgbClr val="000000"/>
                </a:solidFill>
                <a:effectLst/>
              </a:rPr>
              <a:t>​</a:t>
            </a:r>
          </a:p>
          <a:p>
            <a:pPr lvl="1" fontAlgn="base">
              <a:spcBef>
                <a:spcPts val="600"/>
              </a:spcBef>
            </a:pPr>
            <a:r>
              <a:rPr lang="en-US" b="0" i="0" u="none" strike="noStrike" dirty="0">
                <a:solidFill>
                  <a:srgbClr val="000000"/>
                </a:solidFill>
                <a:effectLst/>
              </a:rPr>
              <a:t>HA of human influenza virus very closely related to </a:t>
            </a:r>
            <a:r>
              <a:rPr lang="en-US" b="1" i="0" u="none" strike="noStrike" dirty="0">
                <a:solidFill>
                  <a:srgbClr val="000000"/>
                </a:solidFill>
                <a:effectLst/>
              </a:rPr>
              <a:t>two available CVVs</a:t>
            </a:r>
            <a:r>
              <a:rPr lang="en-US" b="0" i="0" dirty="0">
                <a:solidFill>
                  <a:srgbClr val="000000"/>
                </a:solidFill>
                <a:effectLst/>
              </a:rPr>
              <a:t>​</a:t>
            </a:r>
          </a:p>
          <a:p>
            <a:pPr lvl="1" fontAlgn="base">
              <a:spcBef>
                <a:spcPts val="600"/>
              </a:spcBef>
            </a:pPr>
            <a:r>
              <a:rPr lang="en-US" b="0" i="0" u="none" strike="noStrike" dirty="0">
                <a:solidFill>
                  <a:srgbClr val="000000"/>
                </a:solidFill>
                <a:effectLst/>
              </a:rPr>
              <a:t>Vaccines made with CVVs would be expected to provide good protection against this virus</a:t>
            </a:r>
            <a:r>
              <a:rPr lang="en-US" b="0" i="0" dirty="0">
                <a:solidFill>
                  <a:srgbClr val="000000"/>
                </a:solidFill>
                <a:effectLst/>
              </a:rPr>
              <a:t>​</a:t>
            </a:r>
          </a:p>
        </p:txBody>
      </p:sp>
      <p:sp>
        <p:nvSpPr>
          <p:cNvPr id="4" name="TextBox 3">
            <a:extLst>
              <a:ext uri="{FF2B5EF4-FFF2-40B4-BE49-F238E27FC236}">
                <a16:creationId xmlns:a16="http://schemas.microsoft.com/office/drawing/2014/main" id="{226CAF98-AF3A-3953-DD2B-7EEC64897BB4}"/>
              </a:ext>
            </a:extLst>
          </p:cNvPr>
          <p:cNvSpPr txBox="1"/>
          <p:nvPr/>
        </p:nvSpPr>
        <p:spPr>
          <a:xfrm>
            <a:off x="1214845" y="6419646"/>
            <a:ext cx="10112829" cy="3077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hlinkClick r:id="rId3"/>
              </a:rPr>
              <a:t>How CDC is monitoring influenza data among people to better understand the current avian influenza A (H5N1) situation | Bird Flu | CDC</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0997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68013D-49E6-3324-4C39-DE39EE32BE11}"/>
              </a:ext>
            </a:extLst>
          </p:cNvPr>
          <p:cNvSpPr>
            <a:spLocks noGrp="1"/>
          </p:cNvSpPr>
          <p:nvPr>
            <p:ph type="body" sz="quarter" idx="10"/>
          </p:nvPr>
        </p:nvSpPr>
        <p:spPr>
          <a:xfrm>
            <a:off x="573023" y="1449977"/>
            <a:ext cx="7720077" cy="5154023"/>
          </a:xfrm>
        </p:spPr>
        <p:txBody>
          <a:bodyPr vert="horz" lIns="91440" tIns="45720" rIns="91440" bIns="45720" rtlCol="0" anchor="t">
            <a:normAutofit/>
          </a:bodyPr>
          <a:lstStyle/>
          <a:p>
            <a:pPr>
              <a:lnSpc>
                <a:spcPct val="100000"/>
              </a:lnSpc>
            </a:pPr>
            <a:r>
              <a:rPr lang="en-US" i="0" dirty="0">
                <a:solidFill>
                  <a:srgbClr val="1C1D1F"/>
                </a:solidFill>
                <a:effectLst/>
                <a:latin typeface="Calibri" panose="020F0502020204030204" pitchFamily="34" charset="0"/>
                <a:cs typeface="Calibri" panose="020F0502020204030204" pitchFamily="34" charset="0"/>
              </a:rPr>
              <a:t>All people with direct or close exposure to infected animals </a:t>
            </a:r>
            <a:r>
              <a:rPr lang="en-US" b="1" i="0" dirty="0">
                <a:solidFill>
                  <a:srgbClr val="1C1D1F"/>
                </a:solidFill>
                <a:effectLst/>
                <a:latin typeface="Calibri" panose="020F0502020204030204" pitchFamily="34" charset="0"/>
                <a:cs typeface="Calibri" panose="020F0502020204030204" pitchFamily="34" charset="0"/>
              </a:rPr>
              <a:t>should be monitored for illness during exposure and for 10 days after their last exposure.</a:t>
            </a:r>
          </a:p>
          <a:p>
            <a:pPr>
              <a:lnSpc>
                <a:spcPct val="100000"/>
              </a:lnSpc>
            </a:pPr>
            <a:r>
              <a:rPr lang="en-US" i="0" dirty="0">
                <a:solidFill>
                  <a:srgbClr val="1C1D1F"/>
                </a:solidFill>
                <a:effectLst/>
                <a:latin typeface="Calibri" panose="020F0502020204030204" pitchFamily="34" charset="0"/>
                <a:cs typeface="Calibri" panose="020F0502020204030204" pitchFamily="34" charset="0"/>
              </a:rPr>
              <a:t>Signs/symptoms </a:t>
            </a:r>
            <a:r>
              <a:rPr lang="en-US" b="0" i="0" dirty="0">
                <a:solidFill>
                  <a:srgbClr val="1C1D1F"/>
                </a:solidFill>
                <a:effectLst/>
                <a:latin typeface="Calibri" panose="020F0502020204030204" pitchFamily="34" charset="0"/>
                <a:cs typeface="Calibri" panose="020F0502020204030204" pitchFamily="34" charset="0"/>
              </a:rPr>
              <a:t>may include: </a:t>
            </a:r>
          </a:p>
          <a:p>
            <a:pPr marL="857250" lvl="1" indent="-342900">
              <a:lnSpc>
                <a:spcPct val="110000"/>
              </a:lnSpc>
              <a:buFont typeface="Arial" panose="020B0604020202020204" pitchFamily="34" charset="0"/>
              <a:buChar char="•"/>
            </a:pPr>
            <a:r>
              <a:rPr lang="en-US" sz="2000" b="0" i="0" dirty="0">
                <a:solidFill>
                  <a:srgbClr val="1C1D1F"/>
                </a:solidFill>
                <a:effectLst/>
                <a:latin typeface="Calibri" panose="020F0502020204030204" pitchFamily="34" charset="0"/>
                <a:cs typeface="Calibri" panose="020F0502020204030204" pitchFamily="34" charset="0"/>
              </a:rPr>
              <a:t>feeling feverish, cough, sore throat, runny or stuffy nose, muscle or body aches, headaches</a:t>
            </a:r>
            <a:r>
              <a:rPr lang="en-US" sz="2000" dirty="0">
                <a:solidFill>
                  <a:srgbClr val="1C1D1F"/>
                </a:solidFill>
                <a:latin typeface="Calibri" panose="020F0502020204030204" pitchFamily="34" charset="0"/>
                <a:cs typeface="Calibri" panose="020F0502020204030204" pitchFamily="34" charset="0"/>
              </a:rPr>
              <a:t>, </a:t>
            </a:r>
            <a:r>
              <a:rPr lang="en-US" sz="2000" b="0" i="0" dirty="0">
                <a:solidFill>
                  <a:srgbClr val="1C1D1F"/>
                </a:solidFill>
                <a:effectLst/>
                <a:latin typeface="Calibri" panose="020F0502020204030204" pitchFamily="34" charset="0"/>
                <a:cs typeface="Calibri" panose="020F0502020204030204" pitchFamily="34" charset="0"/>
              </a:rPr>
              <a:t>fatigue</a:t>
            </a:r>
            <a:r>
              <a:rPr lang="en-US" sz="2000" dirty="0">
                <a:solidFill>
                  <a:srgbClr val="1C1D1F"/>
                </a:solidFill>
                <a:latin typeface="Calibri" panose="020F0502020204030204" pitchFamily="34" charset="0"/>
                <a:cs typeface="Calibri" panose="020F0502020204030204" pitchFamily="34" charset="0"/>
              </a:rPr>
              <a:t>, </a:t>
            </a:r>
            <a:r>
              <a:rPr lang="en-US" sz="2000" b="1" i="0" dirty="0">
                <a:solidFill>
                  <a:srgbClr val="1C1D1F"/>
                </a:solidFill>
                <a:effectLst/>
                <a:latin typeface="Calibri" panose="020F0502020204030204" pitchFamily="34" charset="0"/>
                <a:cs typeface="Calibri" panose="020F0502020204030204" pitchFamily="34" charset="0"/>
              </a:rPr>
              <a:t>eye redness (or conjunctivitis)</a:t>
            </a:r>
            <a:r>
              <a:rPr lang="en-US" sz="2000" b="0" i="0" dirty="0">
                <a:solidFill>
                  <a:srgbClr val="1C1D1F"/>
                </a:solidFill>
                <a:effectLst/>
                <a:latin typeface="Calibri" panose="020F0502020204030204" pitchFamily="34" charset="0"/>
                <a:cs typeface="Calibri" panose="020F0502020204030204" pitchFamily="34" charset="0"/>
              </a:rPr>
              <a:t>, shortness of breath or difficulty breathing</a:t>
            </a:r>
          </a:p>
          <a:p>
            <a:pPr lvl="1">
              <a:lnSpc>
                <a:spcPct val="100000"/>
              </a:lnSpc>
              <a:buFont typeface="Arial" panose="020B0604020202020204" pitchFamily="34" charset="0"/>
              <a:buChar char="•"/>
            </a:pPr>
            <a:r>
              <a:rPr lang="en-US" sz="2000" i="0" dirty="0">
                <a:solidFill>
                  <a:srgbClr val="1C1D1F"/>
                </a:solidFill>
                <a:effectLst/>
                <a:latin typeface="Calibri" panose="020F0502020204030204" pitchFamily="34" charset="0"/>
                <a:cs typeface="Calibri" panose="020F0502020204030204" pitchFamily="34" charset="0"/>
              </a:rPr>
              <a:t>less commonly, </a:t>
            </a:r>
            <a:r>
              <a:rPr lang="en-US" sz="2000" b="0" i="0" dirty="0">
                <a:solidFill>
                  <a:srgbClr val="1C1D1F"/>
                </a:solidFill>
                <a:effectLst/>
                <a:latin typeface="Calibri" panose="020F0502020204030204" pitchFamily="34" charset="0"/>
                <a:cs typeface="Calibri" panose="020F0502020204030204" pitchFamily="34" charset="0"/>
              </a:rPr>
              <a:t>diarrhea, nausea, vomiting, or seizures</a:t>
            </a:r>
            <a:endParaRPr lang="en-US" sz="2000" dirty="0">
              <a:solidFill>
                <a:srgbClr val="1C1D1F"/>
              </a:solidFill>
              <a:latin typeface="Calibri" panose="020F0502020204030204" pitchFamily="34" charset="0"/>
              <a:cs typeface="Calibri" panose="020F0502020204030204" pitchFamily="34" charset="0"/>
            </a:endParaRPr>
          </a:p>
          <a:p>
            <a:pPr>
              <a:lnSpc>
                <a:spcPct val="100000"/>
              </a:lnSpc>
            </a:pPr>
            <a:r>
              <a:rPr lang="en-US" dirty="0">
                <a:latin typeface="Calibri" panose="020F0502020204030204" pitchFamily="34" charset="0"/>
                <a:cs typeface="Calibri" panose="020F0502020204030204" pitchFamily="34" charset="0"/>
              </a:rPr>
              <a:t>If signs/symptoms develop, seek medical care and testing</a:t>
            </a:r>
          </a:p>
          <a:p>
            <a:pPr>
              <a:lnSpc>
                <a:spcPct val="100000"/>
              </a:lnSpc>
            </a:pPr>
            <a:r>
              <a:rPr lang="en-US" dirty="0">
                <a:solidFill>
                  <a:srgbClr val="1C1D1F"/>
                </a:solidFill>
                <a:latin typeface="Calibri" panose="020F0502020204030204" pitchFamily="34" charset="0"/>
                <a:cs typeface="Calibri" panose="020F0502020204030204" pitchFamily="34" charset="0"/>
              </a:rPr>
              <a:t>State and local h</a:t>
            </a:r>
            <a:r>
              <a:rPr lang="en-US" i="0" dirty="0">
                <a:solidFill>
                  <a:srgbClr val="1C1D1F"/>
                </a:solidFill>
                <a:effectLst/>
                <a:latin typeface="Calibri" panose="020F0502020204030204" pitchFamily="34" charset="0"/>
                <a:cs typeface="Calibri" panose="020F0502020204030204" pitchFamily="34" charset="0"/>
              </a:rPr>
              <a:t>ealth de</a:t>
            </a:r>
            <a:r>
              <a:rPr lang="en-US" dirty="0">
                <a:solidFill>
                  <a:srgbClr val="1C1D1F"/>
                </a:solidFill>
                <a:latin typeface="Calibri" panose="020F0502020204030204" pitchFamily="34" charset="0"/>
                <a:cs typeface="Calibri" panose="020F0502020204030204" pitchFamily="34" charset="0"/>
              </a:rPr>
              <a:t>partments are monitoring workers on impacted farms and </a:t>
            </a:r>
            <a:r>
              <a:rPr lang="en-US" b="1" dirty="0">
                <a:solidFill>
                  <a:srgbClr val="1C1D1F"/>
                </a:solidFill>
                <a:latin typeface="Calibri" panose="020F0502020204030204" pitchFamily="34" charset="0"/>
                <a:cs typeface="Calibri" panose="020F0502020204030204" pitchFamily="34" charset="0"/>
              </a:rPr>
              <a:t>can facilitate testing and treatment</a:t>
            </a:r>
            <a:endParaRPr lang="en-US" b="1" i="0" dirty="0">
              <a:solidFill>
                <a:srgbClr val="1C1D1F"/>
              </a:solidFill>
              <a:effectLst/>
              <a:latin typeface="Calibri" panose="020F0502020204030204" pitchFamily="34" charset="0"/>
              <a:cs typeface="Calibri" panose="020F0502020204030204" pitchFamily="34" charset="0"/>
            </a:endParaRPr>
          </a:p>
          <a:p>
            <a:pPr>
              <a:lnSpc>
                <a:spcPct val="100000"/>
              </a:lnSpc>
            </a:pPr>
            <a:endParaRPr lang="en-US" dirty="0">
              <a:latin typeface="Calibri" panose="020F0502020204030204" pitchFamily="34" charset="0"/>
              <a:cs typeface="Calibri" panose="020F0502020204030204" pitchFamily="34" charset="0"/>
            </a:endParaRPr>
          </a:p>
          <a:p>
            <a:pPr lvl="1">
              <a:lnSpc>
                <a:spcPct val="100000"/>
              </a:lnSpc>
              <a:buFont typeface="Arial" panose="020B0604020202020204" pitchFamily="34" charset="0"/>
              <a:buChar char="•"/>
            </a:pPr>
            <a:endParaRPr lang="en-US" b="0" i="0" dirty="0">
              <a:solidFill>
                <a:srgbClr val="1C1D1F"/>
              </a:solidFill>
              <a:effectLst/>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91A9D63C-03DD-8BC8-64C3-AA4598D5869A}"/>
              </a:ext>
            </a:extLst>
          </p:cNvPr>
          <p:cNvSpPr>
            <a:spLocks noGrp="1"/>
          </p:cNvSpPr>
          <p:nvPr>
            <p:ph type="title"/>
          </p:nvPr>
        </p:nvSpPr>
        <p:spPr>
          <a:xfrm>
            <a:off x="573023" y="0"/>
            <a:ext cx="10972800" cy="1143000"/>
          </a:xfrm>
        </p:spPr>
        <p:txBody>
          <a:bodyPr>
            <a:normAutofit/>
          </a:bodyPr>
          <a:lstStyle/>
          <a:p>
            <a:pPr>
              <a:lnSpc>
                <a:spcPct val="132485"/>
              </a:lnSpc>
            </a:pPr>
            <a:r>
              <a:rPr lang="en-US" sz="3700" dirty="0">
                <a:solidFill>
                  <a:srgbClr val="002060"/>
                </a:solidFill>
                <a:latin typeface="Calibri"/>
                <a:cs typeface="Calibri"/>
              </a:rPr>
              <a:t>Symptom Monitoring Recommendations </a:t>
            </a:r>
            <a:endParaRPr lang="en-US" sz="3700" dirty="0">
              <a:solidFill>
                <a:srgbClr val="002060"/>
              </a:solidFill>
              <a:cs typeface="Calibri"/>
            </a:endParaRPr>
          </a:p>
        </p:txBody>
      </p:sp>
      <p:pic>
        <p:nvPicPr>
          <p:cNvPr id="1026" name="Picture 2" descr="Bird flu symptoms include fever, sore throat, cough, stuffy or runny nose, fatigue, muscle aches, digestive issues and more.">
            <a:extLst>
              <a:ext uri="{FF2B5EF4-FFF2-40B4-BE49-F238E27FC236}">
                <a16:creationId xmlns:a16="http://schemas.microsoft.com/office/drawing/2014/main" id="{0DF9B94A-ED4A-0B48-1D5C-41871DE1393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94184" y="195590"/>
            <a:ext cx="3082149" cy="6210300"/>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07AD0A2-CC2F-95FF-B2DB-4F1C73EC61EB}"/>
              </a:ext>
            </a:extLst>
          </p:cNvPr>
          <p:cNvSpPr txBox="1"/>
          <p:nvPr/>
        </p:nvSpPr>
        <p:spPr>
          <a:xfrm>
            <a:off x="8647880" y="6488584"/>
            <a:ext cx="397713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hlinkClick r:id="rId4"/>
              </a:rPr>
              <a:t>https://my.clevelandclinic.org/health/diseases/22401-bird-flu</a:t>
            </a:r>
            <a:endParaRPr kumimoji="0" lang="en-US" sz="1000" b="0" i="0" u="none" strike="noStrike" kern="1200" cap="none" spc="0" normalizeH="0" baseline="0" noProof="0">
              <a:ln>
                <a:noFill/>
              </a:ln>
              <a:solidFill>
                <a:prstClr val="black"/>
              </a:solidFill>
              <a:effectLst/>
              <a:uLnTx/>
              <a:uFillTx/>
              <a:latin typeface="Aptos" panose="020B0004020202020204"/>
              <a:ea typeface="+mn-ea"/>
              <a:cs typeface="+mn-cs"/>
            </a:endParaRPr>
          </a:p>
        </p:txBody>
      </p:sp>
    </p:spTree>
    <p:extLst>
      <p:ext uri="{BB962C8B-B14F-4D97-AF65-F5344CB8AC3E}">
        <p14:creationId xmlns:p14="http://schemas.microsoft.com/office/powerpoint/2010/main" val="367316967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90F1B3-6DF3-2039-9E10-069218A7BC84}"/>
              </a:ext>
            </a:extLst>
          </p:cNvPr>
          <p:cNvSpPr>
            <a:spLocks noGrp="1"/>
          </p:cNvSpPr>
          <p:nvPr>
            <p:ph sz="quarter" idx="14"/>
          </p:nvPr>
        </p:nvSpPr>
        <p:spPr>
          <a:xfrm>
            <a:off x="185110" y="1424417"/>
            <a:ext cx="6661510" cy="5233086"/>
          </a:xfrm>
        </p:spPr>
        <p:txBody>
          <a:bodyPr vert="horz" lIns="91440" tIns="45720" rIns="91440" bIns="45720" rtlCol="0" anchor="t">
            <a:noAutofit/>
          </a:bodyPr>
          <a:lstStyle/>
          <a:p>
            <a:pPr algn="l"/>
            <a:r>
              <a:rPr lang="en-US" sz="2200" b="0" i="0" dirty="0">
                <a:solidFill>
                  <a:srgbClr val="1C1D1F"/>
                </a:solidFill>
                <a:effectLst/>
              </a:rPr>
              <a:t>CDC is continuing to support state and local health departments monitoring exposed people during and for 10 days after last exposure</a:t>
            </a:r>
          </a:p>
          <a:p>
            <a:pPr marL="0" indent="0" algn="l">
              <a:buNone/>
            </a:pPr>
            <a:endParaRPr lang="en-US" sz="2200" b="1" dirty="0">
              <a:solidFill>
                <a:srgbClr val="1C1D1F"/>
              </a:solidFill>
            </a:endParaRPr>
          </a:p>
          <a:p>
            <a:pPr algn="l"/>
            <a:r>
              <a:rPr lang="en-US" sz="2200" b="1" i="0" dirty="0">
                <a:solidFill>
                  <a:srgbClr val="1C1D1F"/>
                </a:solidFill>
                <a:effectLst/>
              </a:rPr>
              <a:t>Since March 24, 2024 </a:t>
            </a:r>
            <a:r>
              <a:rPr lang="en-US" sz="2200" b="0" i="0" dirty="0">
                <a:solidFill>
                  <a:srgbClr val="1C1D1F"/>
                </a:solidFill>
                <a:effectLst/>
              </a:rPr>
              <a:t>there have been:</a:t>
            </a:r>
            <a:endParaRPr lang="en-US" sz="2200" b="0" i="0" dirty="0">
              <a:solidFill>
                <a:srgbClr val="1C1D1F"/>
              </a:solidFill>
              <a:effectLst/>
              <a:cs typeface="Calibri"/>
            </a:endParaRPr>
          </a:p>
          <a:p>
            <a:pPr lvl="1">
              <a:buSzPct val="70000"/>
              <a:buFont typeface="Courier New" panose="02070309020205020404" pitchFamily="49" charset="0"/>
              <a:buChar char="o"/>
            </a:pPr>
            <a:r>
              <a:rPr lang="en-US" sz="2200" b="0" i="0" dirty="0">
                <a:solidFill>
                  <a:srgbClr val="1C1D1F"/>
                </a:solidFill>
                <a:effectLst/>
              </a:rPr>
              <a:t>At least 4,500 </a:t>
            </a:r>
            <a:r>
              <a:rPr lang="en-US" sz="2200" b="1" i="0" dirty="0">
                <a:solidFill>
                  <a:srgbClr val="1C1D1F"/>
                </a:solidFill>
                <a:effectLst/>
              </a:rPr>
              <a:t>people monitored</a:t>
            </a:r>
            <a:endParaRPr lang="en-US" sz="2200" b="1" i="0" dirty="0">
              <a:solidFill>
                <a:srgbClr val="1C1D1F"/>
              </a:solidFill>
              <a:effectLst/>
              <a:cs typeface="Calibri"/>
            </a:endParaRPr>
          </a:p>
          <a:p>
            <a:pPr lvl="2">
              <a:buFont typeface="Wingdings" panose="05000000000000000000" pitchFamily="2" charset="2"/>
              <a:buChar char="§"/>
            </a:pPr>
            <a:r>
              <a:rPr lang="en-US" sz="2200" b="0" i="0" dirty="0">
                <a:solidFill>
                  <a:srgbClr val="1C1D1F"/>
                </a:solidFill>
                <a:effectLst/>
              </a:rPr>
              <a:t>1,980 with exposures to dairy cows</a:t>
            </a:r>
            <a:endParaRPr lang="en-US" sz="2200" b="0" i="0" dirty="0">
              <a:solidFill>
                <a:srgbClr val="1C1D1F"/>
              </a:solidFill>
              <a:effectLst/>
              <a:cs typeface="Calibri"/>
            </a:endParaRPr>
          </a:p>
          <a:p>
            <a:pPr lvl="2">
              <a:buFont typeface="Wingdings" panose="05000000000000000000" pitchFamily="2" charset="2"/>
              <a:buChar char="§"/>
            </a:pPr>
            <a:r>
              <a:rPr lang="en-US" sz="2200" b="0" i="0" dirty="0">
                <a:solidFill>
                  <a:srgbClr val="1C1D1F"/>
                </a:solidFill>
                <a:effectLst/>
              </a:rPr>
              <a:t>2,600 with exposures to birds and other animals including poultry (non-dairy cow source)</a:t>
            </a:r>
            <a:endParaRPr lang="en-US" sz="2200" b="0" i="0" dirty="0">
              <a:solidFill>
                <a:srgbClr val="1C1D1F"/>
              </a:solidFill>
              <a:effectLst/>
              <a:cs typeface="Calibri"/>
            </a:endParaRPr>
          </a:p>
          <a:p>
            <a:pPr lvl="1">
              <a:buSzPct val="70000"/>
              <a:buFont typeface="Courier New" panose="02070309020205020404" pitchFamily="49" charset="0"/>
              <a:buChar char="o"/>
            </a:pPr>
            <a:r>
              <a:rPr lang="en-US" sz="2200" b="0" i="0" dirty="0">
                <a:solidFill>
                  <a:srgbClr val="1C1D1F"/>
                </a:solidFill>
                <a:effectLst/>
              </a:rPr>
              <a:t>At least 230 persons </a:t>
            </a:r>
            <a:r>
              <a:rPr lang="en-US" sz="2200" b="1" i="0" dirty="0">
                <a:solidFill>
                  <a:srgbClr val="1C1D1F"/>
                </a:solidFill>
                <a:effectLst/>
              </a:rPr>
              <a:t>tested for novel influenza A</a:t>
            </a:r>
            <a:endParaRPr lang="en-US" sz="2200" b="1" i="0" dirty="0">
              <a:solidFill>
                <a:srgbClr val="1C1D1F"/>
              </a:solidFill>
              <a:effectLst/>
              <a:cs typeface="Calibri"/>
            </a:endParaRPr>
          </a:p>
          <a:p>
            <a:pPr lvl="2">
              <a:buFont typeface="Wingdings" panose="05000000000000000000" pitchFamily="2" charset="2"/>
              <a:buChar char="§"/>
            </a:pPr>
            <a:r>
              <a:rPr lang="en-US" sz="2200" b="0" i="0" dirty="0">
                <a:solidFill>
                  <a:srgbClr val="1C1D1F"/>
                </a:solidFill>
                <a:effectLst/>
              </a:rPr>
              <a:t>72 with exposures to dairy cows</a:t>
            </a:r>
            <a:endParaRPr lang="en-US" sz="2200" b="0" i="0" dirty="0">
              <a:solidFill>
                <a:srgbClr val="1C1D1F"/>
              </a:solidFill>
              <a:effectLst/>
              <a:cs typeface="Calibri"/>
            </a:endParaRPr>
          </a:p>
          <a:p>
            <a:pPr lvl="2">
              <a:buFont typeface="Wingdings" panose="05000000000000000000" pitchFamily="2" charset="2"/>
              <a:buChar char="§"/>
            </a:pPr>
            <a:r>
              <a:rPr lang="en-US" sz="2200" b="0" i="0" dirty="0">
                <a:solidFill>
                  <a:srgbClr val="1C1D1F"/>
                </a:solidFill>
                <a:effectLst/>
              </a:rPr>
              <a:t>160 with exposures to birds and other animals including poultry (non-dairy cow source)</a:t>
            </a:r>
          </a:p>
          <a:p>
            <a:pPr lvl="1"/>
            <a:endParaRPr lang="en-US" sz="2000" dirty="0">
              <a:solidFill>
                <a:srgbClr val="1C1D1F"/>
              </a:solidFill>
              <a:highlight>
                <a:srgbClr val="FFFF00"/>
              </a:highlight>
              <a:cs typeface="Calibri"/>
            </a:endParaRPr>
          </a:p>
          <a:p>
            <a:pPr marL="457200" lvl="1" indent="0">
              <a:buNone/>
            </a:pPr>
            <a:endParaRPr lang="en-US" sz="2000" b="0" i="0" dirty="0">
              <a:solidFill>
                <a:srgbClr val="1C1D1F"/>
              </a:solidFill>
              <a:effectLst/>
              <a:cs typeface="Calibri" panose="020F0502020204030204"/>
            </a:endParaRPr>
          </a:p>
        </p:txBody>
      </p:sp>
      <p:sp>
        <p:nvSpPr>
          <p:cNvPr id="3" name="Title 2">
            <a:extLst>
              <a:ext uri="{FF2B5EF4-FFF2-40B4-BE49-F238E27FC236}">
                <a16:creationId xmlns:a16="http://schemas.microsoft.com/office/drawing/2014/main" id="{B4B587E2-B604-DF6E-863F-0150ED118F07}"/>
              </a:ext>
            </a:extLst>
          </p:cNvPr>
          <p:cNvSpPr>
            <a:spLocks noGrp="1"/>
          </p:cNvSpPr>
          <p:nvPr>
            <p:ph type="title"/>
          </p:nvPr>
        </p:nvSpPr>
        <p:spPr>
          <a:xfrm>
            <a:off x="398505" y="200497"/>
            <a:ext cx="11394989" cy="1325563"/>
          </a:xfrm>
        </p:spPr>
        <p:txBody>
          <a:bodyPr>
            <a:normAutofit/>
          </a:bodyPr>
          <a:lstStyle/>
          <a:p>
            <a:r>
              <a:rPr lang="en-US" sz="4000" b="1" dirty="0">
                <a:solidFill>
                  <a:srgbClr val="002060"/>
                </a:solidFill>
                <a:latin typeface="+mn-lt"/>
              </a:rPr>
              <a:t>Ongoing Human Monitoring</a:t>
            </a:r>
          </a:p>
        </p:txBody>
      </p:sp>
      <p:pic>
        <p:nvPicPr>
          <p:cNvPr id="7" name="Picture 6">
            <a:extLst>
              <a:ext uri="{FF2B5EF4-FFF2-40B4-BE49-F238E27FC236}">
                <a16:creationId xmlns:a16="http://schemas.microsoft.com/office/drawing/2014/main" id="{F1B9AA7D-7F44-E3AF-8B6C-9C126544C680}"/>
              </a:ext>
            </a:extLst>
          </p:cNvPr>
          <p:cNvPicPr>
            <a:picLocks noChangeAspect="1"/>
          </p:cNvPicPr>
          <p:nvPr/>
        </p:nvPicPr>
        <p:blipFill>
          <a:blip r:embed="rId3"/>
          <a:stretch>
            <a:fillRect/>
          </a:stretch>
        </p:blipFill>
        <p:spPr>
          <a:xfrm>
            <a:off x="6949856" y="1689481"/>
            <a:ext cx="4873134" cy="1678979"/>
          </a:xfrm>
          <a:prstGeom prst="rect">
            <a:avLst/>
          </a:prstGeom>
          <a:ln>
            <a:noFill/>
          </a:ln>
        </p:spPr>
      </p:pic>
      <p:sp>
        <p:nvSpPr>
          <p:cNvPr id="9" name="Rectangle 8">
            <a:extLst>
              <a:ext uri="{FF2B5EF4-FFF2-40B4-BE49-F238E27FC236}">
                <a16:creationId xmlns:a16="http://schemas.microsoft.com/office/drawing/2014/main" id="{4D49DEF3-2CA2-040E-E7AE-CAA6B0233344}"/>
              </a:ext>
            </a:extLst>
          </p:cNvPr>
          <p:cNvSpPr/>
          <p:nvPr/>
        </p:nvSpPr>
        <p:spPr>
          <a:xfrm>
            <a:off x="6876116" y="1526061"/>
            <a:ext cx="4946874" cy="3657205"/>
          </a:xfrm>
          <a:prstGeom prst="rect">
            <a:avLst/>
          </a:prstGeom>
          <a:noFill/>
          <a:ln>
            <a:solidFill>
              <a:schemeClr val="bg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DA7C738F-D6BE-E6BD-7D27-FF4F81B8CD5A}"/>
              </a:ext>
            </a:extLst>
          </p:cNvPr>
          <p:cNvPicPr>
            <a:picLocks noChangeAspect="1"/>
          </p:cNvPicPr>
          <p:nvPr/>
        </p:nvPicPr>
        <p:blipFill>
          <a:blip r:embed="rId4"/>
          <a:stretch>
            <a:fillRect/>
          </a:stretch>
        </p:blipFill>
        <p:spPr>
          <a:xfrm>
            <a:off x="6949855" y="3327046"/>
            <a:ext cx="4873135" cy="1834270"/>
          </a:xfrm>
          <a:prstGeom prst="rect">
            <a:avLst/>
          </a:prstGeom>
          <a:ln>
            <a:noFill/>
          </a:ln>
        </p:spPr>
      </p:pic>
    </p:spTree>
    <p:extLst>
      <p:ext uri="{BB962C8B-B14F-4D97-AF65-F5344CB8AC3E}">
        <p14:creationId xmlns:p14="http://schemas.microsoft.com/office/powerpoint/2010/main" val="220017694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02EF3B4-F45C-1AB1-9283-63EA33E78FB3}"/>
              </a:ext>
            </a:extLst>
          </p:cNvPr>
          <p:cNvPicPr>
            <a:picLocks noChangeAspect="1"/>
          </p:cNvPicPr>
          <p:nvPr/>
        </p:nvPicPr>
        <p:blipFill>
          <a:blip r:embed="rId3"/>
          <a:stretch>
            <a:fillRect/>
          </a:stretch>
        </p:blipFill>
        <p:spPr>
          <a:xfrm>
            <a:off x="1764491" y="4412370"/>
            <a:ext cx="3834068" cy="2215534"/>
          </a:xfrm>
          <a:prstGeom prst="rect">
            <a:avLst/>
          </a:prstGeom>
        </p:spPr>
      </p:pic>
      <p:sp>
        <p:nvSpPr>
          <p:cNvPr id="3" name="Content Placeholder 2">
            <a:extLst>
              <a:ext uri="{FF2B5EF4-FFF2-40B4-BE49-F238E27FC236}">
                <a16:creationId xmlns:a16="http://schemas.microsoft.com/office/drawing/2014/main" id="{9020F1B1-3C8B-2A62-FC70-938F0F2A3B98}"/>
              </a:ext>
            </a:extLst>
          </p:cNvPr>
          <p:cNvSpPr>
            <a:spLocks noGrp="1"/>
          </p:cNvSpPr>
          <p:nvPr>
            <p:ph sz="quarter" idx="14"/>
          </p:nvPr>
        </p:nvSpPr>
        <p:spPr>
          <a:xfrm>
            <a:off x="398689" y="1096033"/>
            <a:ext cx="11687175" cy="661915"/>
          </a:xfrm>
        </p:spPr>
        <p:txBody>
          <a:bodyPr vert="horz" lIns="91440" tIns="45720" rIns="91440" bIns="45720" rtlCol="0" anchor="t">
            <a:noAutofit/>
          </a:bodyPr>
          <a:lstStyle/>
          <a:p>
            <a:pPr marL="243205" indent="-243205">
              <a:spcBef>
                <a:spcPts val="600"/>
              </a:spcBef>
            </a:pPr>
            <a:r>
              <a:rPr lang="en-US" sz="2400" dirty="0">
                <a:solidFill>
                  <a:schemeClr val="tx1"/>
                </a:solidFill>
                <a:cs typeface="Calibri"/>
              </a:rPr>
              <a:t>Since February 2024, public health laboratory monitoring includes testing of more than </a:t>
            </a:r>
            <a:r>
              <a:rPr lang="en-US" sz="2400" b="1" dirty="0">
                <a:solidFill>
                  <a:schemeClr val="tx1"/>
                </a:solidFill>
                <a:cs typeface="Calibri"/>
              </a:rPr>
              <a:t>43,000 specimens </a:t>
            </a:r>
            <a:r>
              <a:rPr lang="en-US" sz="2400" dirty="0">
                <a:solidFill>
                  <a:schemeClr val="tx1"/>
                </a:solidFill>
                <a:cs typeface="Calibri"/>
              </a:rPr>
              <a:t>using a protocol that would have detected H5</a:t>
            </a:r>
          </a:p>
        </p:txBody>
      </p:sp>
      <p:sp>
        <p:nvSpPr>
          <p:cNvPr id="2" name="Title 1">
            <a:extLst>
              <a:ext uri="{FF2B5EF4-FFF2-40B4-BE49-F238E27FC236}">
                <a16:creationId xmlns:a16="http://schemas.microsoft.com/office/drawing/2014/main" id="{85D8420D-ED7F-846D-7DF7-10FC38EBA20F}"/>
              </a:ext>
            </a:extLst>
          </p:cNvPr>
          <p:cNvSpPr>
            <a:spLocks noGrp="1"/>
          </p:cNvSpPr>
          <p:nvPr>
            <p:ph type="title"/>
          </p:nvPr>
        </p:nvSpPr>
        <p:spPr>
          <a:xfrm>
            <a:off x="509556" y="133350"/>
            <a:ext cx="10704982" cy="706942"/>
          </a:xfrm>
        </p:spPr>
        <p:txBody>
          <a:bodyPr>
            <a:normAutofit/>
          </a:bodyPr>
          <a:lstStyle/>
          <a:p>
            <a:pPr>
              <a:lnSpc>
                <a:spcPct val="92824"/>
              </a:lnSpc>
            </a:pPr>
            <a:r>
              <a:rPr lang="en-US" sz="3600" b="1" dirty="0">
                <a:solidFill>
                  <a:srgbClr val="002060"/>
                </a:solidFill>
                <a:latin typeface="+mn-lt"/>
              </a:rPr>
              <a:t>Surveillance, Human Monitoring, and Testing </a:t>
            </a:r>
          </a:p>
        </p:txBody>
      </p:sp>
      <p:sp>
        <p:nvSpPr>
          <p:cNvPr id="10" name="TextBox 9">
            <a:extLst>
              <a:ext uri="{FF2B5EF4-FFF2-40B4-BE49-F238E27FC236}">
                <a16:creationId xmlns:a16="http://schemas.microsoft.com/office/drawing/2014/main" id="{CF3A6647-95D8-ED9C-6A15-0A1E027B41F6}"/>
              </a:ext>
            </a:extLst>
          </p:cNvPr>
          <p:cNvSpPr txBox="1"/>
          <p:nvPr/>
        </p:nvSpPr>
        <p:spPr>
          <a:xfrm>
            <a:off x="854529" y="6634281"/>
            <a:ext cx="10775496"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hlinkClick r:id="rId4"/>
              </a:rPr>
              <a:t>How CDC is monitoring influenza data among people to better understand the current avian influenza A (H5N1) situation | Bird Flu | CDC</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hlinkClick r:id="rId5"/>
              </a:rPr>
              <a:t>Weekly U.S. Influenza Surveillance Report | CDC</a:t>
            </a: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3">
            <a:extLst>
              <a:ext uri="{FF2B5EF4-FFF2-40B4-BE49-F238E27FC236}">
                <a16:creationId xmlns:a16="http://schemas.microsoft.com/office/drawing/2014/main" id="{629FE27D-07F7-F4FD-E281-293CB90FAC4D}"/>
              </a:ext>
            </a:extLst>
          </p:cNvPr>
          <p:cNvSpPr txBox="1">
            <a:spLocks/>
          </p:cNvSpPr>
          <p:nvPr/>
        </p:nvSpPr>
        <p:spPr>
          <a:xfrm>
            <a:off x="11730587" y="6407379"/>
            <a:ext cx="443089" cy="34321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B11AF8B-AA4A-4143-91D6-A716333E3D61}" type="slidenum">
              <a:rPr kumimoji="0" lang="en-US" sz="1200" b="0" i="0" u="none" strike="noStrike" kern="1200" cap="none" spc="0" normalizeH="0" baseline="0" noProof="0" smtClean="0">
                <a:ln>
                  <a:noFill/>
                </a:ln>
                <a:solidFill>
                  <a:srgbClr val="898989"/>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srgbClr val="898989"/>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DFBBC924-2780-0070-3FC7-09C040A7B36E}"/>
              </a:ext>
            </a:extLst>
          </p:cNvPr>
          <p:cNvPicPr>
            <a:picLocks noChangeAspect="1"/>
          </p:cNvPicPr>
          <p:nvPr/>
        </p:nvPicPr>
        <p:blipFill rotWithShape="1">
          <a:blip r:embed="rId6"/>
          <a:srcRect l="20217" t="22814" r="26270" b="21433"/>
          <a:stretch/>
        </p:blipFill>
        <p:spPr>
          <a:xfrm>
            <a:off x="6918890" y="4418747"/>
            <a:ext cx="3914583" cy="2209157"/>
          </a:xfrm>
          <a:prstGeom prst="rect">
            <a:avLst/>
          </a:prstGeom>
        </p:spPr>
      </p:pic>
      <p:pic>
        <p:nvPicPr>
          <p:cNvPr id="12" name="Picture 11">
            <a:extLst>
              <a:ext uri="{FF2B5EF4-FFF2-40B4-BE49-F238E27FC236}">
                <a16:creationId xmlns:a16="http://schemas.microsoft.com/office/drawing/2014/main" id="{35385AC5-1EFD-1848-1AD7-4B4759AB6204}"/>
              </a:ext>
            </a:extLst>
          </p:cNvPr>
          <p:cNvPicPr>
            <a:picLocks noChangeAspect="1"/>
          </p:cNvPicPr>
          <p:nvPr/>
        </p:nvPicPr>
        <p:blipFill rotWithShape="1">
          <a:blip r:embed="rId7"/>
          <a:srcRect l="20373" t="22842" r="22913" b="20949"/>
          <a:stretch/>
        </p:blipFill>
        <p:spPr>
          <a:xfrm>
            <a:off x="6918890" y="2094846"/>
            <a:ext cx="4148742" cy="2227226"/>
          </a:xfrm>
          <a:prstGeom prst="rect">
            <a:avLst/>
          </a:prstGeom>
        </p:spPr>
      </p:pic>
      <p:pic>
        <p:nvPicPr>
          <p:cNvPr id="14" name="Picture 13">
            <a:extLst>
              <a:ext uri="{FF2B5EF4-FFF2-40B4-BE49-F238E27FC236}">
                <a16:creationId xmlns:a16="http://schemas.microsoft.com/office/drawing/2014/main" id="{44DA4728-F10C-C7AA-F611-8FAB3F27496A}"/>
              </a:ext>
            </a:extLst>
          </p:cNvPr>
          <p:cNvPicPr>
            <a:picLocks noChangeAspect="1"/>
          </p:cNvPicPr>
          <p:nvPr/>
        </p:nvPicPr>
        <p:blipFill rotWithShape="1">
          <a:blip r:embed="rId8"/>
          <a:srcRect l="20781" t="20882" r="22656" b="23606"/>
          <a:stretch/>
        </p:blipFill>
        <p:spPr>
          <a:xfrm>
            <a:off x="1695033" y="2148521"/>
            <a:ext cx="4034254" cy="2144617"/>
          </a:xfrm>
          <a:prstGeom prst="rect">
            <a:avLst/>
          </a:prstGeom>
        </p:spPr>
      </p:pic>
      <p:sp>
        <p:nvSpPr>
          <p:cNvPr id="9" name="Content Placeholder 2">
            <a:extLst>
              <a:ext uri="{FF2B5EF4-FFF2-40B4-BE49-F238E27FC236}">
                <a16:creationId xmlns:a16="http://schemas.microsoft.com/office/drawing/2014/main" id="{96B7B08A-B77B-14BF-0287-64B9BF721742}"/>
              </a:ext>
            </a:extLst>
          </p:cNvPr>
          <p:cNvSpPr txBox="1">
            <a:spLocks/>
          </p:cNvSpPr>
          <p:nvPr/>
        </p:nvSpPr>
        <p:spPr>
          <a:xfrm>
            <a:off x="2715904" y="3029803"/>
            <a:ext cx="7246961" cy="1510967"/>
          </a:xfrm>
          <a:prstGeom prst="rect">
            <a:avLst/>
          </a:prstGeom>
          <a:solidFill>
            <a:schemeClr val="bg2">
              <a:lumMod val="90000"/>
              <a:alpha val="75000"/>
            </a:schemeClr>
          </a:solidFill>
        </p:spPr>
        <p:txBody>
          <a:bodyPr anchor="ctr"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 indicators of unusual influenza activity in people, including avian influenza A(H5N1)</a:t>
            </a: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2463223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row of samples for medical testing">
            <a:extLst>
              <a:ext uri="{FF2B5EF4-FFF2-40B4-BE49-F238E27FC236}">
                <a16:creationId xmlns:a16="http://schemas.microsoft.com/office/drawing/2014/main" id="{28599627-750A-B647-924D-F46A46C82896}"/>
              </a:ext>
            </a:extLst>
          </p:cNvPr>
          <p:cNvPicPr>
            <a:picLocks noChangeAspect="1"/>
          </p:cNvPicPr>
          <p:nvPr/>
        </p:nvPicPr>
        <p:blipFill>
          <a:blip r:embed="rId3">
            <a:extLst>
              <a:ext uri="{28A0092B-C50C-407E-A947-70E740481C1C}">
                <a14:useLocalDpi xmlns:a14="http://schemas.microsoft.com/office/drawing/2010/main" val="0"/>
              </a:ext>
            </a:extLst>
          </a:blip>
          <a:srcRect l="41757" r="-1" b="-1"/>
          <a:stretch/>
        </p:blipFill>
        <p:spPr>
          <a:xfrm>
            <a:off x="6857797" y="-10886"/>
            <a:ext cx="5334204" cy="6868886"/>
          </a:xfrm>
          <a:prstGeom prst="rect">
            <a:avLst/>
          </a:prstGeom>
          <a:effectLst>
            <a:outerShdw blurRad="127000" dist="50800" dir="10800000" sx="99000" sy="99000" algn="r" rotWithShape="0">
              <a:prstClr val="black">
                <a:alpha val="40000"/>
              </a:prstClr>
            </a:outerShdw>
          </a:effectLst>
        </p:spPr>
      </p:pic>
      <p:pic>
        <p:nvPicPr>
          <p:cNvPr id="7" name="Picture 6">
            <a:extLst>
              <a:ext uri="{FF2B5EF4-FFF2-40B4-BE49-F238E27FC236}">
                <a16:creationId xmlns:a16="http://schemas.microsoft.com/office/drawing/2014/main" id="{65D1986F-0A53-B4E3-855C-099E3D4857A8}"/>
              </a:ext>
            </a:extLst>
          </p:cNvPr>
          <p:cNvPicPr>
            <a:picLocks noChangeAspect="1"/>
          </p:cNvPicPr>
          <p:nvPr/>
        </p:nvPicPr>
        <p:blipFill>
          <a:blip r:embed="rId4"/>
          <a:stretch>
            <a:fillRect/>
          </a:stretch>
        </p:blipFill>
        <p:spPr>
          <a:xfrm>
            <a:off x="-1" y="6297229"/>
            <a:ext cx="666750" cy="609600"/>
          </a:xfrm>
          <a:prstGeom prst="rect">
            <a:avLst/>
          </a:prstGeom>
        </p:spPr>
      </p:pic>
      <p:sp>
        <p:nvSpPr>
          <p:cNvPr id="11" name="Title 2">
            <a:extLst>
              <a:ext uri="{FF2B5EF4-FFF2-40B4-BE49-F238E27FC236}">
                <a16:creationId xmlns:a16="http://schemas.microsoft.com/office/drawing/2014/main" id="{EC36D4EA-3838-3B60-6C7F-7405AF9BB375}"/>
              </a:ext>
            </a:extLst>
          </p:cNvPr>
          <p:cNvSpPr txBox="1">
            <a:spLocks/>
          </p:cNvSpPr>
          <p:nvPr/>
        </p:nvSpPr>
        <p:spPr>
          <a:xfrm>
            <a:off x="288099" y="0"/>
            <a:ext cx="6569697" cy="170824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002060"/>
                </a:solidFill>
                <a:effectLst/>
                <a:uLnTx/>
                <a:uFillTx/>
                <a:latin typeface="Calibri" panose="020F0502020204030204"/>
                <a:ea typeface="+mj-ea"/>
                <a:cs typeface="+mj-cs"/>
              </a:rPr>
              <a:t>Michigan Seroprevalence Study</a:t>
            </a:r>
          </a:p>
        </p:txBody>
      </p:sp>
      <p:sp>
        <p:nvSpPr>
          <p:cNvPr id="12" name="Content Placeholder 1">
            <a:extLst>
              <a:ext uri="{FF2B5EF4-FFF2-40B4-BE49-F238E27FC236}">
                <a16:creationId xmlns:a16="http://schemas.microsoft.com/office/drawing/2014/main" id="{861E4A7E-E27D-8AB5-95F3-001738201666}"/>
              </a:ext>
            </a:extLst>
          </p:cNvPr>
          <p:cNvSpPr txBox="1">
            <a:spLocks/>
          </p:cNvSpPr>
          <p:nvPr/>
        </p:nvSpPr>
        <p:spPr>
          <a:xfrm>
            <a:off x="288098" y="1633512"/>
            <a:ext cx="6387022" cy="513127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133A"/>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133A"/>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133A"/>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133A"/>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133A"/>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n June 2024, Michigan Department of Health collected blood samples from 35 dairy workers</a:t>
            </a:r>
          </a:p>
          <a:p>
            <a:pPr marL="685800" marR="0" lvl="1"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had varying roles, but most worked with infected cows</a:t>
            </a:r>
          </a:p>
          <a:p>
            <a:pPr marL="685800" marR="0" lvl="1"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less than half reported using masks or goggles</a:t>
            </a:r>
          </a:p>
          <a:p>
            <a:pPr marL="228600" marR="0" lvl="0" indent="-22860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amples were tested for antibodies against H5N1 virus and a seasonal influenza virus</a:t>
            </a:r>
          </a:p>
          <a:p>
            <a:pPr marL="228600" marR="0" lvl="0" indent="-22860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None of the participants showed neutralizing antibodies specific to avian influenza A(H5N1) virus, although many showed antibody responses to seasonal influenza</a:t>
            </a:r>
          </a:p>
          <a:p>
            <a:pPr marL="228600" marR="0" lvl="0" indent="-22860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his suggests that these people were not previously infected with H5N1 despite high risk of exposure</a:t>
            </a:r>
          </a:p>
        </p:txBody>
      </p:sp>
    </p:spTree>
    <p:extLst>
      <p:ext uri="{BB962C8B-B14F-4D97-AF65-F5344CB8AC3E}">
        <p14:creationId xmlns:p14="http://schemas.microsoft.com/office/powerpoint/2010/main" val="102737390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9908" y="109326"/>
            <a:ext cx="10515600" cy="1325563"/>
          </a:xfrm>
        </p:spPr>
        <p:txBody>
          <a:bodyP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Calibri" panose="020F0502020204030204"/>
                <a:ea typeface="+mn-ea"/>
                <a:cs typeface="+mn-cs"/>
              </a:rPr>
              <a:t>CDC Influenza Risk Assessment Tool (IRAT)</a:t>
            </a:r>
          </a:p>
        </p:txBody>
      </p:sp>
      <p:sp>
        <p:nvSpPr>
          <p:cNvPr id="29" name="Content Placeholder 28"/>
          <p:cNvSpPr>
            <a:spLocks noGrp="1"/>
          </p:cNvSpPr>
          <p:nvPr>
            <p:ph idx="1"/>
          </p:nvPr>
        </p:nvSpPr>
        <p:spPr>
          <a:xfrm>
            <a:off x="-133213" y="1458458"/>
            <a:ext cx="4239025" cy="4769701"/>
          </a:xfrm>
        </p:spPr>
        <p:txBody>
          <a:bodyPr>
            <a:normAutofit lnSpcReduction="10000"/>
          </a:bodyPr>
          <a:lstStyle/>
          <a:p>
            <a:pPr lvl="1"/>
            <a:r>
              <a:rPr lang="en-US" sz="2000" b="1"/>
              <a:t>Evaluative tool for prioritizing resources for pandemic preparedness</a:t>
            </a:r>
          </a:p>
          <a:p>
            <a:pPr lvl="1"/>
            <a:r>
              <a:rPr lang="en-US" sz="2000" b="1"/>
              <a:t>Emergence</a:t>
            </a:r>
            <a:r>
              <a:rPr lang="en-US" sz="2000"/>
              <a:t> is the risk of a novel influenza virus acquiring the ability to spread easily and efficiently in people</a:t>
            </a:r>
          </a:p>
          <a:p>
            <a:pPr lvl="1"/>
            <a:r>
              <a:rPr lang="en-US" sz="2000" b="1"/>
              <a:t>Public health impact </a:t>
            </a:r>
            <a:r>
              <a:rPr lang="en-US" sz="2000"/>
              <a:t>is the potential severity of human disease caused by the virus, the burden on society if a novel influenza virus were to begin spreading efficiently and sustainably among people</a:t>
            </a:r>
          </a:p>
          <a:p>
            <a:pPr lvl="1"/>
            <a:r>
              <a:rPr lang="en-US" sz="2000"/>
              <a:t>Viruses scored using 10 risk elements by USG SMEs for emergence and public health impact</a:t>
            </a:r>
          </a:p>
        </p:txBody>
      </p:sp>
      <p:grpSp>
        <p:nvGrpSpPr>
          <p:cNvPr id="28" name="Group 27"/>
          <p:cNvGrpSpPr/>
          <p:nvPr/>
        </p:nvGrpSpPr>
        <p:grpSpPr>
          <a:xfrm>
            <a:off x="4245002" y="1704334"/>
            <a:ext cx="7717436" cy="4558252"/>
            <a:chOff x="152400" y="1524000"/>
            <a:chExt cx="7717436" cy="4558252"/>
          </a:xfrm>
        </p:grpSpPr>
        <p:sp>
          <p:nvSpPr>
            <p:cNvPr id="16" name="Rectangle 15"/>
            <p:cNvSpPr/>
            <p:nvPr/>
          </p:nvSpPr>
          <p:spPr>
            <a:xfrm>
              <a:off x="152400" y="4621965"/>
              <a:ext cx="7717436" cy="1460287"/>
            </a:xfrm>
            <a:prstGeom prst="rect">
              <a:avLst/>
            </a:prstGeom>
            <a:solidFill>
              <a:srgbClr val="33CCFF">
                <a:alpha val="50000"/>
              </a:srgbClr>
            </a:solidFill>
            <a:ln w="25400" cap="flat" cmpd="sng" algn="ctr">
              <a:solidFill>
                <a:srgbClr val="BBE0E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p:cNvSpPr/>
            <p:nvPr/>
          </p:nvSpPr>
          <p:spPr>
            <a:xfrm>
              <a:off x="152400" y="3186653"/>
              <a:ext cx="7717436" cy="1435313"/>
            </a:xfrm>
            <a:prstGeom prst="rect">
              <a:avLst/>
            </a:prstGeom>
            <a:solidFill>
              <a:schemeClr val="accent4">
                <a:lumMod val="40000"/>
                <a:lumOff val="60000"/>
                <a:alpha val="50000"/>
              </a:schemeClr>
            </a:solidFill>
            <a:ln w="25400" cap="flat" cmpd="sng" algn="ctr">
              <a:solidFill>
                <a:srgbClr val="BBE0E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 name="Rectangle 17"/>
            <p:cNvSpPr/>
            <p:nvPr/>
          </p:nvSpPr>
          <p:spPr>
            <a:xfrm>
              <a:off x="152400" y="1524000"/>
              <a:ext cx="7717436" cy="1664732"/>
            </a:xfrm>
            <a:prstGeom prst="rect">
              <a:avLst/>
            </a:prstGeom>
            <a:solidFill>
              <a:schemeClr val="bg1">
                <a:lumMod val="20000"/>
                <a:lumOff val="80000"/>
                <a:alpha val="50000"/>
              </a:schemeClr>
            </a:solidFill>
            <a:ln w="25400" cap="flat" cmpd="sng" algn="ctr">
              <a:solidFill>
                <a:srgbClr val="BBE0E3">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 name="Content Placeholder 1"/>
            <p:cNvSpPr txBox="1">
              <a:spLocks/>
            </p:cNvSpPr>
            <p:nvPr/>
          </p:nvSpPr>
          <p:spPr bwMode="auto">
            <a:xfrm>
              <a:off x="1444840" y="1524000"/>
              <a:ext cx="6380026" cy="4191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tx1"/>
                </a:buClr>
                <a:buSzPct val="70000"/>
                <a:buFont typeface="Wingdings" pitchFamily="2" charset="2"/>
                <a:buChar char="q"/>
                <a:defRPr sz="2400" b="1" baseline="0">
                  <a:solidFill>
                    <a:schemeClr val="bg2"/>
                  </a:solidFill>
                  <a:latin typeface="+mn-lt"/>
                  <a:ea typeface="+mn-ea"/>
                  <a:cs typeface="+mn-cs"/>
                </a:defRPr>
              </a:lvl1pPr>
              <a:lvl2pPr marL="742950" indent="-285750" algn="l" rtl="0" fontAlgn="base">
                <a:spcBef>
                  <a:spcPct val="20000"/>
                </a:spcBef>
                <a:spcAft>
                  <a:spcPct val="0"/>
                </a:spcAft>
                <a:buClr>
                  <a:schemeClr val="tx1"/>
                </a:buClr>
                <a:buSzPct val="100000"/>
                <a:buFont typeface="Wingdings" pitchFamily="2" charset="2"/>
                <a:buChar char="§"/>
                <a:defRPr sz="2000">
                  <a:solidFill>
                    <a:schemeClr val="bg2"/>
                  </a:solidFill>
                  <a:latin typeface="+mn-lt"/>
                </a:defRPr>
              </a:lvl2pPr>
              <a:lvl3pPr marL="1143000" indent="-228600" algn="l" rtl="0" fontAlgn="base">
                <a:spcBef>
                  <a:spcPct val="20000"/>
                </a:spcBef>
                <a:spcAft>
                  <a:spcPct val="0"/>
                </a:spcAft>
                <a:buClr>
                  <a:schemeClr val="tx1"/>
                </a:buClr>
                <a:buSzPct val="100000"/>
                <a:buFont typeface="Arial" pitchFamily="34" charset="0"/>
                <a:buChar char="•"/>
                <a:defRPr sz="1800">
                  <a:solidFill>
                    <a:schemeClr val="bg2"/>
                  </a:solidFill>
                  <a:latin typeface="+mn-lt"/>
                </a:defRPr>
              </a:lvl3pPr>
              <a:lvl4pPr marL="1600200" indent="-228600" algn="l" rtl="0" fontAlgn="base">
                <a:spcBef>
                  <a:spcPct val="20000"/>
                </a:spcBef>
                <a:spcAft>
                  <a:spcPct val="0"/>
                </a:spcAft>
                <a:buClr>
                  <a:schemeClr val="tx1"/>
                </a:buClr>
                <a:buSzPct val="70000"/>
                <a:buFont typeface="Courier New" pitchFamily="49" charset="0"/>
                <a:buChar char="o"/>
                <a:defRPr sz="1800" baseline="0">
                  <a:solidFill>
                    <a:schemeClr val="bg2"/>
                  </a:solidFill>
                  <a:latin typeface="+mn-lt"/>
                </a:defRPr>
              </a:lvl4pPr>
              <a:lvl5pPr marL="2057400" indent="-228600" algn="l" rtl="0" fontAlgn="base">
                <a:spcBef>
                  <a:spcPct val="20000"/>
                </a:spcBef>
                <a:spcAft>
                  <a:spcPct val="0"/>
                </a:spcAft>
                <a:buClr>
                  <a:schemeClr val="tx1"/>
                </a:buClr>
                <a:buSzPct val="70000"/>
                <a:buFont typeface="Arial" pitchFamily="34" charset="0"/>
                <a:buChar char="•"/>
                <a:defRPr sz="1800">
                  <a:solidFill>
                    <a:schemeClr val="bg2"/>
                  </a:solidFill>
                  <a:latin typeface="+mn-lt"/>
                </a:defRPr>
              </a:lvl5pPr>
              <a:lvl6pPr marL="2514600" indent="-228600" algn="l" rtl="0" fontAlgn="base">
                <a:spcBef>
                  <a:spcPct val="20000"/>
                </a:spcBef>
                <a:spcAft>
                  <a:spcPct val="0"/>
                </a:spcAft>
                <a:buClr>
                  <a:srgbClr val="EA5F00"/>
                </a:buClr>
                <a:buChar char="»"/>
                <a:defRPr sz="1200">
                  <a:solidFill>
                    <a:schemeClr val="tx1"/>
                  </a:solidFill>
                  <a:latin typeface="+mn-lt"/>
                </a:defRPr>
              </a:lvl6pPr>
              <a:lvl7pPr marL="2971800" indent="-228600" algn="l" rtl="0" fontAlgn="base">
                <a:spcBef>
                  <a:spcPct val="20000"/>
                </a:spcBef>
                <a:spcAft>
                  <a:spcPct val="0"/>
                </a:spcAft>
                <a:buClr>
                  <a:srgbClr val="EA5F00"/>
                </a:buClr>
                <a:buChar char="»"/>
                <a:defRPr sz="1200">
                  <a:solidFill>
                    <a:schemeClr val="tx1"/>
                  </a:solidFill>
                  <a:latin typeface="+mn-lt"/>
                </a:defRPr>
              </a:lvl7pPr>
              <a:lvl8pPr marL="3429000" indent="-228600" algn="l" rtl="0" fontAlgn="base">
                <a:spcBef>
                  <a:spcPct val="20000"/>
                </a:spcBef>
                <a:spcAft>
                  <a:spcPct val="0"/>
                </a:spcAft>
                <a:buClr>
                  <a:srgbClr val="EA5F00"/>
                </a:buClr>
                <a:buChar char="»"/>
                <a:defRPr sz="1200">
                  <a:solidFill>
                    <a:schemeClr val="tx1"/>
                  </a:solidFill>
                  <a:latin typeface="+mn-lt"/>
                </a:defRPr>
              </a:lvl8pPr>
              <a:lvl9pPr marL="3886200" indent="-228600" algn="l" rtl="0" fontAlgn="base">
                <a:spcBef>
                  <a:spcPct val="20000"/>
                </a:spcBef>
                <a:spcAft>
                  <a:spcPct val="0"/>
                </a:spcAft>
                <a:buClr>
                  <a:srgbClr val="EA5F00"/>
                </a:buClr>
                <a:buChar char="»"/>
                <a:defRPr sz="1200">
                  <a:solidFill>
                    <a:schemeClr val="tx1"/>
                  </a:solidFill>
                  <a:latin typeface="+mn-lt"/>
                </a:defRPr>
              </a:lvl9pPr>
            </a:lstStyle>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r>
                <a:rPr kumimoji="0" lang="en-US" sz="2000" b="1" i="0" u="none" strike="noStrike" kern="0" cap="none" spc="0" normalizeH="0" baseline="0" noProof="0">
                  <a:ln>
                    <a:noFill/>
                  </a:ln>
                  <a:solidFill>
                    <a:srgbClr val="000000"/>
                  </a:solidFill>
                  <a:effectLst/>
                  <a:uLnTx/>
                  <a:uFillTx/>
                  <a:latin typeface="Arial" panose="020B0604020202020204"/>
                  <a:ea typeface="+mn-ea"/>
                  <a:cs typeface="+mn-cs"/>
                </a:rPr>
                <a:t>Genomic variation </a:t>
              </a: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r>
                <a:rPr kumimoji="0" lang="en-US" sz="2000" b="1" i="0" u="none" strike="noStrike" kern="0" cap="none" spc="0" normalizeH="0" baseline="0" noProof="0">
                  <a:ln>
                    <a:noFill/>
                  </a:ln>
                  <a:solidFill>
                    <a:srgbClr val="000000"/>
                  </a:solidFill>
                  <a:effectLst/>
                  <a:uLnTx/>
                  <a:uFillTx/>
                  <a:latin typeface="Arial" panose="020B0604020202020204"/>
                  <a:ea typeface="+mn-ea"/>
                  <a:cs typeface="+mn-cs"/>
                </a:rPr>
                <a:t>Receptor binding</a:t>
              </a: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r>
                <a:rPr kumimoji="0" lang="en-US" sz="2000" b="1" i="0" u="none" strike="noStrike" kern="0" cap="none" spc="0" normalizeH="0" baseline="0" noProof="0">
                  <a:ln>
                    <a:noFill/>
                  </a:ln>
                  <a:solidFill>
                    <a:srgbClr val="000000"/>
                  </a:solidFill>
                  <a:effectLst/>
                  <a:uLnTx/>
                  <a:uFillTx/>
                  <a:latin typeface="Arial" panose="020B0604020202020204"/>
                  <a:ea typeface="+mn-ea"/>
                  <a:cs typeface="+mn-cs"/>
                </a:rPr>
                <a:t>Transmission in Laboratory animals</a:t>
              </a: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r>
                <a:rPr kumimoji="0" lang="en-US" sz="2000" b="1" i="0" u="none" strike="noStrike" kern="0" cap="none" spc="0" normalizeH="0" baseline="0" noProof="0">
                  <a:ln>
                    <a:noFill/>
                  </a:ln>
                  <a:solidFill>
                    <a:srgbClr val="000000"/>
                  </a:solidFill>
                  <a:effectLst/>
                  <a:uLnTx/>
                  <a:uFillTx/>
                  <a:latin typeface="Arial" panose="020B0604020202020204"/>
                  <a:ea typeface="+mn-ea"/>
                  <a:cs typeface="+mn-cs"/>
                </a:rPr>
                <a:t>Antivirals and Treatment Options</a:t>
              </a: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endParaRPr kumimoji="0" lang="en-US" sz="2000" b="1" i="0" u="none" strike="noStrike" kern="0" cap="none" spc="0" normalizeH="0" baseline="0" noProof="0">
                <a:ln>
                  <a:noFill/>
                </a:ln>
                <a:solidFill>
                  <a:srgbClr val="000000"/>
                </a:solidFill>
                <a:effectLst/>
                <a:uLnTx/>
                <a:uFillTx/>
                <a:latin typeface="Arial" panose="020B0604020202020204"/>
                <a:ea typeface="+mn-ea"/>
                <a:cs typeface="+mn-cs"/>
              </a:endParaRP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r>
                <a:rPr kumimoji="0" lang="en-US" sz="2000" b="1" i="0" u="none" strike="noStrike" kern="0" cap="none" spc="0" normalizeH="0" baseline="0" noProof="0">
                  <a:ln>
                    <a:noFill/>
                  </a:ln>
                  <a:solidFill>
                    <a:srgbClr val="000000"/>
                  </a:solidFill>
                  <a:effectLst/>
                  <a:uLnTx/>
                  <a:uFillTx/>
                  <a:latin typeface="Arial" panose="020B0604020202020204"/>
                  <a:ea typeface="+mn-ea"/>
                  <a:cs typeface="+mn-cs"/>
                </a:rPr>
                <a:t>Existing Population Immunity</a:t>
              </a: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r>
                <a:rPr kumimoji="0" lang="en-US" sz="2000" b="1" i="0" u="none" strike="noStrike" kern="0" cap="none" spc="0" normalizeH="0" baseline="0" noProof="0">
                  <a:ln>
                    <a:noFill/>
                  </a:ln>
                  <a:solidFill>
                    <a:srgbClr val="000000"/>
                  </a:solidFill>
                  <a:effectLst/>
                  <a:uLnTx/>
                  <a:uFillTx/>
                  <a:latin typeface="Arial" panose="020B0604020202020204"/>
                  <a:ea typeface="+mn-ea"/>
                  <a:cs typeface="+mn-cs"/>
                </a:rPr>
                <a:t>Disease Severity and Pathogenesis</a:t>
              </a: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r>
                <a:rPr kumimoji="0" lang="en-US" sz="2000" b="1" i="0" u="none" strike="noStrike" kern="0" cap="none" spc="0" normalizeH="0" baseline="0" noProof="0">
                  <a:ln>
                    <a:noFill/>
                  </a:ln>
                  <a:solidFill>
                    <a:srgbClr val="000000"/>
                  </a:solidFill>
                  <a:effectLst/>
                  <a:uLnTx/>
                  <a:uFillTx/>
                  <a:latin typeface="Arial" panose="020B0604020202020204"/>
                  <a:ea typeface="+mn-ea"/>
                  <a:cs typeface="+mn-cs"/>
                </a:rPr>
                <a:t>Antigenic Relationship to Vaccine Candidates</a:t>
              </a: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endParaRPr kumimoji="0" lang="en-US" sz="2000" b="1" i="0" u="none" strike="noStrike" kern="0" cap="none" spc="0" normalizeH="0" baseline="0" noProof="0">
                <a:ln>
                  <a:noFill/>
                </a:ln>
                <a:solidFill>
                  <a:srgbClr val="000000"/>
                </a:solidFill>
                <a:effectLst/>
                <a:uLnTx/>
                <a:uFillTx/>
                <a:latin typeface="Arial" panose="020B0604020202020204"/>
                <a:ea typeface="+mn-ea"/>
                <a:cs typeface="+mn-cs"/>
              </a:endParaRP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r>
                <a:rPr kumimoji="0" lang="en-US" sz="2000" b="1" i="0" u="none" strike="noStrike" kern="0" cap="none" spc="0" normalizeH="0" baseline="0" noProof="0">
                  <a:ln>
                    <a:noFill/>
                  </a:ln>
                  <a:solidFill>
                    <a:srgbClr val="000000"/>
                  </a:solidFill>
                  <a:effectLst/>
                  <a:uLnTx/>
                  <a:uFillTx/>
                  <a:latin typeface="Arial" panose="020B0604020202020204"/>
                  <a:ea typeface="+mn-ea"/>
                  <a:cs typeface="+mn-cs"/>
                </a:rPr>
                <a:t>Global Geographic Distribution</a:t>
              </a: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r>
                <a:rPr kumimoji="0" lang="en-US" sz="2000" b="1" i="0" u="none" strike="noStrike" kern="0" cap="none" spc="0" normalizeH="0" baseline="0" noProof="0">
                  <a:ln>
                    <a:noFill/>
                  </a:ln>
                  <a:solidFill>
                    <a:srgbClr val="000000"/>
                  </a:solidFill>
                  <a:effectLst/>
                  <a:uLnTx/>
                  <a:uFillTx/>
                  <a:latin typeface="Arial" panose="020B0604020202020204"/>
                  <a:ea typeface="+mn-ea"/>
                  <a:cs typeface="+mn-cs"/>
                </a:rPr>
                <a:t>Infection in Animals, Human Risk of Infection</a:t>
              </a: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r>
                <a:rPr kumimoji="0" lang="en-US" sz="2000" b="1" i="0" u="none" strike="noStrike" kern="0" cap="none" spc="0" normalizeH="0" baseline="0" noProof="0">
                  <a:ln>
                    <a:noFill/>
                  </a:ln>
                  <a:solidFill>
                    <a:srgbClr val="000000"/>
                  </a:solidFill>
                  <a:effectLst/>
                  <a:uLnTx/>
                  <a:uFillTx/>
                  <a:latin typeface="Arial" panose="020B0604020202020204"/>
                  <a:ea typeface="+mn-ea"/>
                  <a:cs typeface="+mn-cs"/>
                </a:rPr>
                <a:t>Human Infections and Transmission</a:t>
              </a:r>
            </a:p>
            <a:p>
              <a:pPr marL="457200" marR="0" lvl="0" indent="-457200" algn="l" defTabSz="914400" rtl="0" eaLnBrk="1" fontAlgn="base" latinLnBrk="0" hangingPunct="1">
                <a:lnSpc>
                  <a:spcPct val="100000"/>
                </a:lnSpc>
                <a:spcBef>
                  <a:spcPct val="20000"/>
                </a:spcBef>
                <a:spcAft>
                  <a:spcPct val="0"/>
                </a:spcAft>
                <a:buClr>
                  <a:srgbClr val="000000"/>
                </a:buClr>
                <a:buSzPct val="70000"/>
                <a:buFont typeface="+mj-lt"/>
                <a:buAutoNum type="arabicPeriod"/>
                <a:tabLst/>
                <a:defRPr/>
              </a:pPr>
              <a:endParaRPr kumimoji="0" lang="en-US" sz="2400" b="1" i="0" u="none" strike="noStrike" kern="0" cap="none" spc="0" normalizeH="0" baseline="0" noProof="0">
                <a:ln>
                  <a:noFill/>
                </a:ln>
                <a:solidFill>
                  <a:srgbClr val="000000"/>
                </a:solidFill>
                <a:effectLst/>
                <a:uLnTx/>
                <a:uFillTx/>
                <a:latin typeface="Arial" panose="020B0604020202020204"/>
                <a:ea typeface="+mn-ea"/>
                <a:cs typeface="+mn-cs"/>
              </a:endParaRPr>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857" y="1781816"/>
              <a:ext cx="952030" cy="952030"/>
            </a:xfrm>
            <a:prstGeom prst="rect">
              <a:avLst/>
            </a:prstGeom>
          </p:spPr>
        </p:pic>
        <p:sp>
          <p:nvSpPr>
            <p:cNvPr id="21" name="TextBox 20"/>
            <p:cNvSpPr txBox="1"/>
            <p:nvPr/>
          </p:nvSpPr>
          <p:spPr>
            <a:xfrm>
              <a:off x="457200" y="2819400"/>
              <a:ext cx="7575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Virus</a:t>
              </a:r>
            </a:p>
          </p:txBody>
        </p:sp>
        <p:pic>
          <p:nvPicPr>
            <p:cNvPr id="22" name="Picture 2" descr="C:\Documents and Settings\sct1\Local Settings\Temporary Internet Files\Content.IE5\QF43C9NI\MC910216363[1].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752" t="1112" r="16670" b="20627"/>
            <a:stretch/>
          </p:blipFill>
          <p:spPr bwMode="auto">
            <a:xfrm>
              <a:off x="481273" y="3369736"/>
              <a:ext cx="809621" cy="829089"/>
            </a:xfrm>
            <a:prstGeom prst="rect">
              <a:avLst/>
            </a:prstGeom>
            <a:solidFill>
              <a:srgbClr val="FFFFFF"/>
            </a:solidFill>
          </p:spPr>
        </p:pic>
        <p:sp>
          <p:nvSpPr>
            <p:cNvPr id="23" name="TextBox 22"/>
            <p:cNvSpPr txBox="1"/>
            <p:nvPr/>
          </p:nvSpPr>
          <p:spPr>
            <a:xfrm>
              <a:off x="222900" y="4198825"/>
              <a:ext cx="13773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Population</a:t>
              </a:r>
            </a:p>
          </p:txBody>
        </p:sp>
        <p:grpSp>
          <p:nvGrpSpPr>
            <p:cNvPr id="24" name="Group 23"/>
            <p:cNvGrpSpPr/>
            <p:nvPr/>
          </p:nvGrpSpPr>
          <p:grpSpPr>
            <a:xfrm>
              <a:off x="405284" y="4706196"/>
              <a:ext cx="987059" cy="874607"/>
              <a:chOff x="533400" y="4240147"/>
              <a:chExt cx="1596659" cy="1398653"/>
            </a:xfrm>
          </p:grpSpPr>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3400" y="4644710"/>
                <a:ext cx="1034237" cy="994090"/>
              </a:xfrm>
              <a:prstGeom prst="rect">
                <a:avLst/>
              </a:prstGeom>
            </p:spPr>
          </p:pic>
          <p:pic>
            <p:nvPicPr>
              <p:cNvPr id="26" name="Picture 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1195252" y="4240147"/>
                <a:ext cx="934807" cy="898520"/>
              </a:xfrm>
              <a:prstGeom prst="rect">
                <a:avLst/>
              </a:prstGeom>
            </p:spPr>
          </p:pic>
        </p:grpSp>
        <p:sp>
          <p:nvSpPr>
            <p:cNvPr id="27" name="TextBox 26"/>
            <p:cNvSpPr txBox="1"/>
            <p:nvPr/>
          </p:nvSpPr>
          <p:spPr>
            <a:xfrm>
              <a:off x="326064" y="5498068"/>
              <a:ext cx="10823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Ecology</a:t>
              </a:r>
            </a:p>
          </p:txBody>
        </p:sp>
      </p:grpSp>
      <p:sp>
        <p:nvSpPr>
          <p:cNvPr id="3" name="TextBox 2"/>
          <p:cNvSpPr txBox="1"/>
          <p:nvPr/>
        </p:nvSpPr>
        <p:spPr>
          <a:xfrm>
            <a:off x="7460042" y="6471588"/>
            <a:ext cx="78909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hlinkClick r:id="rId7"/>
              </a:rPr>
              <a:t>Influenza Risk Assessment Tool (IRAT) | Pandemic Flu | CDC</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28669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C4147F3A-22EB-74A4-A3EE-2C235BAFF87F}"/>
              </a:ext>
            </a:extLst>
          </p:cNvPr>
          <p:cNvGraphicFramePr>
            <a:graphicFrameLocks/>
          </p:cNvGraphicFramePr>
          <p:nvPr/>
        </p:nvGraphicFramePr>
        <p:xfrm>
          <a:off x="-52551" y="1057390"/>
          <a:ext cx="7315201" cy="575677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CDC40B74-EEB6-4675-9939-3E2B30CA1DE4}"/>
              </a:ext>
            </a:extLst>
          </p:cNvPr>
          <p:cNvSpPr>
            <a:spLocks noGrp="1"/>
          </p:cNvSpPr>
          <p:nvPr>
            <p:ph type="title"/>
          </p:nvPr>
        </p:nvSpPr>
        <p:spPr>
          <a:xfrm>
            <a:off x="465447" y="0"/>
            <a:ext cx="11292047" cy="1325563"/>
          </a:xfrm>
        </p:spPr>
        <p:txBody>
          <a:bodyPr>
            <a:normAutofit/>
          </a:bodyPr>
          <a:lstStyle/>
          <a:p>
            <a:r>
              <a:rPr lang="en-US" sz="3200" dirty="0">
                <a:solidFill>
                  <a:srgbClr val="44546A"/>
                </a:solidFill>
                <a:latin typeface="+mn-lt"/>
                <a:ea typeface="+mn-ea"/>
                <a:cs typeface="+mn-cs"/>
              </a:rPr>
              <a:t>IRAT Virus Emergence and Impact – Comparison of Risk Scores</a:t>
            </a:r>
          </a:p>
        </p:txBody>
      </p:sp>
      <p:sp>
        <p:nvSpPr>
          <p:cNvPr id="8" name="Content Placeholder 6">
            <a:extLst>
              <a:ext uri="{FF2B5EF4-FFF2-40B4-BE49-F238E27FC236}">
                <a16:creationId xmlns:a16="http://schemas.microsoft.com/office/drawing/2014/main" id="{5F4C795A-948E-DFC7-2FD8-B36EDAEBAC2A}"/>
              </a:ext>
            </a:extLst>
          </p:cNvPr>
          <p:cNvSpPr txBox="1">
            <a:spLocks/>
          </p:cNvSpPr>
          <p:nvPr/>
        </p:nvSpPr>
        <p:spPr>
          <a:xfrm>
            <a:off x="465447" y="5003674"/>
            <a:ext cx="7746776" cy="1957610"/>
          </a:xfrm>
          <a:prstGeom prst="rect">
            <a:avLst/>
          </a:prstGeom>
        </p:spPr>
        <p:txBody>
          <a:bodyPr vert="horz" lIns="91440" tIns="45720" rIns="91440" bIns="45720" rtlCol="0" anchor="t">
            <a:noAutofit/>
          </a:bodyPr>
          <a:lstStyle>
            <a:lvl1pPr marL="342900" marR="0" indent="-342900" algn="l" defTabSz="457200" rtl="0" eaLnBrk="1" fontAlgn="auto" latinLnBrk="0" hangingPunct="1">
              <a:lnSpc>
                <a:spcPct val="100000"/>
              </a:lnSpc>
              <a:spcBef>
                <a:spcPct val="20000"/>
              </a:spcBef>
              <a:spcAft>
                <a:spcPts val="0"/>
              </a:spcAft>
              <a:buClr>
                <a:srgbClr val="0070C0"/>
              </a:buClr>
              <a:buSzTx/>
              <a:buFont typeface="Arial"/>
              <a:buChar char="•"/>
              <a:tabLst/>
              <a:defRPr lang="en-US" sz="3200" kern="1200" noProof="0" dirty="0" smtClean="0">
                <a:solidFill>
                  <a:schemeClr val="tx1"/>
                </a:solidFill>
                <a:latin typeface="Arial" panose="020B0604020202020204" pitchFamily="34" charset="0"/>
                <a:ea typeface="+mn-ea"/>
                <a:cs typeface="Arial" panose="020B0604020202020204" pitchFamily="34" charset="0"/>
              </a:defRPr>
            </a:lvl1pPr>
            <a:lvl2pPr marL="742950" marR="0" indent="-285750" algn="l" defTabSz="457200" rtl="0" eaLnBrk="1" fontAlgn="auto" latinLnBrk="0" hangingPunct="1">
              <a:lnSpc>
                <a:spcPct val="100000"/>
              </a:lnSpc>
              <a:spcBef>
                <a:spcPct val="20000"/>
              </a:spcBef>
              <a:spcAft>
                <a:spcPts val="0"/>
              </a:spcAft>
              <a:buClr>
                <a:srgbClr val="333399"/>
              </a:buClr>
              <a:buSzTx/>
              <a:buFont typeface="Courier New" panose="02070309020205020404" pitchFamily="49" charset="0"/>
              <a:buChar char="­"/>
              <a:tabLst/>
              <a:defRPr lang="en-US" sz="2800" kern="1200" noProof="0" dirty="0" smtClean="0">
                <a:solidFill>
                  <a:schemeClr val="tx1"/>
                </a:solidFill>
                <a:latin typeface="Arial" panose="020B0604020202020204" pitchFamily="34" charset="0"/>
                <a:ea typeface="+mn-ea"/>
                <a:cs typeface="Arial" panose="020B0604020202020204" pitchFamily="34" charset="0"/>
              </a:defRPr>
            </a:lvl2pPr>
            <a:lvl3pPr marL="1143000" marR="0" indent="-228600" algn="l" defTabSz="457200" rtl="0" eaLnBrk="1" fontAlgn="auto" latinLnBrk="0" hangingPunct="1">
              <a:lnSpc>
                <a:spcPct val="100000"/>
              </a:lnSpc>
              <a:spcBef>
                <a:spcPct val="20000"/>
              </a:spcBef>
              <a:spcAft>
                <a:spcPts val="0"/>
              </a:spcAft>
              <a:buClr>
                <a:srgbClr val="174C7D"/>
              </a:buClr>
              <a:buSzTx/>
              <a:buFont typeface="Arial"/>
              <a:buChar char="•"/>
              <a:tabLst/>
              <a:defRPr lang="en-US" sz="2400" kern="1200" noProof="0" dirty="0" smtClean="0">
                <a:solidFill>
                  <a:schemeClr val="tx1"/>
                </a:solidFill>
                <a:latin typeface="Arial" panose="020B0604020202020204" pitchFamily="34" charset="0"/>
                <a:ea typeface="+mn-ea"/>
                <a:cs typeface="Arial" panose="020B0604020202020204" pitchFamily="34" charset="0"/>
              </a:defRPr>
            </a:lvl3pPr>
            <a:lvl4pPr marL="1600200" marR="0" indent="-228600" algn="l" defTabSz="457200" rtl="0" eaLnBrk="1" fontAlgn="auto" latinLnBrk="0" hangingPunct="1">
              <a:lnSpc>
                <a:spcPct val="100000"/>
              </a:lnSpc>
              <a:spcBef>
                <a:spcPct val="20000"/>
              </a:spcBef>
              <a:spcAft>
                <a:spcPts val="0"/>
              </a:spcAft>
              <a:buClr>
                <a:schemeClr val="accent6"/>
              </a:buClr>
              <a:buSzTx/>
              <a:buFont typeface="Arial"/>
              <a:buChar char="–"/>
              <a:tabLst/>
              <a:defRPr lang="en-US" sz="2000" kern="1200" noProof="0" dirty="0" smtClean="0">
                <a:solidFill>
                  <a:schemeClr val="tx1"/>
                </a:solidFill>
                <a:latin typeface="Arial" panose="020B0604020202020204" pitchFamily="34" charset="0"/>
                <a:ea typeface="+mn-ea"/>
                <a:cs typeface="Arial" panose="020B0604020202020204" pitchFamily="34" charset="0"/>
              </a:defRPr>
            </a:lvl4pPr>
            <a:lvl5pPr marL="2057400" marR="0" indent="-228600" algn="l" defTabSz="457200" rtl="0" eaLnBrk="1" fontAlgn="auto" latinLnBrk="0" hangingPunct="1">
              <a:lnSpc>
                <a:spcPct val="100000"/>
              </a:lnSpc>
              <a:spcBef>
                <a:spcPct val="20000"/>
              </a:spcBef>
              <a:spcAft>
                <a:spcPts val="0"/>
              </a:spcAft>
              <a:buClr>
                <a:schemeClr val="accent6"/>
              </a:buClr>
              <a:buSzPct val="80000"/>
              <a:buFont typeface="Wingdings" charset="2"/>
              <a:buChar char="§"/>
              <a:tabLst/>
              <a:defRPr lang="en-US" sz="1600" kern="1200" noProof="0" dirty="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742950" marR="0" lvl="1" indent="-285750" algn="l" defTabSz="457200" rtl="0" eaLnBrk="1" fontAlgn="auto" latinLnBrk="0" hangingPunct="1">
              <a:lnSpc>
                <a:spcPct val="100000"/>
              </a:lnSpc>
              <a:spcBef>
                <a:spcPct val="20000"/>
              </a:spcBef>
              <a:spcAft>
                <a:spcPts val="0"/>
              </a:spcAft>
              <a:buClr>
                <a:srgbClr val="333399"/>
              </a:buClr>
              <a:buSzTx/>
              <a:buFont typeface="Courier New" panose="02070309020205020404" pitchFamily="49" charset="0"/>
              <a:buChar char="­"/>
              <a:tabLst/>
              <a:defRPr/>
            </a:pP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a:p>
            <a:pPr marL="742950" marR="0" lvl="1" indent="-285750" algn="l" defTabSz="457200" rtl="0" eaLnBrk="1" fontAlgn="auto" latinLnBrk="0" hangingPunct="1">
              <a:lnSpc>
                <a:spcPct val="100000"/>
              </a:lnSpc>
              <a:spcBef>
                <a:spcPct val="20000"/>
              </a:spcBef>
              <a:spcAft>
                <a:spcPts val="0"/>
              </a:spcAft>
              <a:buClr>
                <a:srgbClr val="333399"/>
              </a:buClr>
              <a:buSzTx/>
              <a:buFont typeface="Courier New" panose="02070309020205020404" pitchFamily="49" charset="0"/>
              <a:buChar char="­"/>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
                <a:srgbClr val="0070C0"/>
              </a:buClr>
              <a:buSzTx/>
              <a:buFont typeface="Arial"/>
              <a:buChar char="•"/>
              <a:tabLst/>
              <a:defRPr/>
            </a:pPr>
            <a:endParaRPr kumimoji="0" lang="en-US" sz="1400" b="0" i="0" u="none" strike="noStrike" kern="1200" cap="none" spc="0" normalizeH="0" baseline="0" noProof="0">
              <a:ln>
                <a:noFill/>
              </a:ln>
              <a:solidFill>
                <a:srgbClr val="0000FF"/>
              </a:solidFill>
              <a:effectLst/>
              <a:uLnTx/>
              <a:uFillTx/>
              <a:latin typeface="Calibri" panose="020F0502020204030204"/>
              <a:ea typeface="+mn-ea"/>
              <a:cs typeface="Arial" panose="020B0604020202020204" pitchFamily="34" charset="0"/>
            </a:endParaRPr>
          </a:p>
        </p:txBody>
      </p:sp>
      <p:sp>
        <p:nvSpPr>
          <p:cNvPr id="5" name="TextBox 4">
            <a:extLst>
              <a:ext uri="{FF2B5EF4-FFF2-40B4-BE49-F238E27FC236}">
                <a16:creationId xmlns:a16="http://schemas.microsoft.com/office/drawing/2014/main" id="{DAADEC91-8BD5-E8DD-7544-9A531D838871}"/>
              </a:ext>
            </a:extLst>
          </p:cNvPr>
          <p:cNvSpPr txBox="1"/>
          <p:nvPr/>
        </p:nvSpPr>
        <p:spPr>
          <a:xfrm>
            <a:off x="1609947" y="6529474"/>
            <a:ext cx="4757531" cy="28469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a:ln>
                  <a:noFill/>
                </a:ln>
                <a:solidFill>
                  <a:prstClr val="black"/>
                </a:solidFill>
                <a:effectLst/>
                <a:uLnTx/>
                <a:uFillTx/>
                <a:latin typeface="Calibri" panose="020F0502020204030204"/>
                <a:ea typeface="+mn-ea"/>
                <a:cs typeface="+mn-cs"/>
                <a:hlinkClick r:id="rId4"/>
              </a:rPr>
              <a:t>Influenza Risk Assessment Tool (IRAT) | Pandemic Influenza (Flu) | CDC</a:t>
            </a:r>
            <a:endParaRPr kumimoji="0" lang="en-US" sz="1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Content Placeholder 6">
            <a:extLst>
              <a:ext uri="{FF2B5EF4-FFF2-40B4-BE49-F238E27FC236}">
                <a16:creationId xmlns:a16="http://schemas.microsoft.com/office/drawing/2014/main" id="{6F389E8E-0A73-D045-D2B6-48E15850BADD}"/>
              </a:ext>
            </a:extLst>
          </p:cNvPr>
          <p:cNvSpPr txBox="1">
            <a:spLocks/>
          </p:cNvSpPr>
          <p:nvPr/>
        </p:nvSpPr>
        <p:spPr>
          <a:xfrm>
            <a:off x="7026262" y="5101182"/>
            <a:ext cx="5861077" cy="1371775"/>
          </a:xfrm>
          <a:prstGeom prst="rect">
            <a:avLst/>
          </a:prstGeom>
        </p:spPr>
        <p:txBody>
          <a:bodyPr vert="horz" lIns="91440" tIns="45720" rIns="91440" bIns="45720" rtlCol="0" anchor="t">
            <a:noAutofit/>
          </a:bodyPr>
          <a:lstStyle>
            <a:lvl1pPr marL="342900" marR="0" indent="-342900" algn="l" defTabSz="457200" rtl="0" eaLnBrk="1" fontAlgn="auto" latinLnBrk="0" hangingPunct="1">
              <a:lnSpc>
                <a:spcPct val="100000"/>
              </a:lnSpc>
              <a:spcBef>
                <a:spcPct val="20000"/>
              </a:spcBef>
              <a:spcAft>
                <a:spcPts val="0"/>
              </a:spcAft>
              <a:buClr>
                <a:srgbClr val="0070C0"/>
              </a:buClr>
              <a:buSzTx/>
              <a:buFont typeface="Arial"/>
              <a:buChar char="•"/>
              <a:tabLst/>
              <a:defRPr lang="en-US" sz="3200" kern="1200" noProof="0" dirty="0" smtClean="0">
                <a:solidFill>
                  <a:schemeClr val="tx1"/>
                </a:solidFill>
                <a:latin typeface="Arial" panose="020B0604020202020204" pitchFamily="34" charset="0"/>
                <a:ea typeface="+mn-ea"/>
                <a:cs typeface="Arial" panose="020B0604020202020204" pitchFamily="34" charset="0"/>
              </a:defRPr>
            </a:lvl1pPr>
            <a:lvl2pPr marL="742950" marR="0" indent="-285750" algn="l" defTabSz="457200" rtl="0" eaLnBrk="1" fontAlgn="auto" latinLnBrk="0" hangingPunct="1">
              <a:lnSpc>
                <a:spcPct val="100000"/>
              </a:lnSpc>
              <a:spcBef>
                <a:spcPct val="20000"/>
              </a:spcBef>
              <a:spcAft>
                <a:spcPts val="0"/>
              </a:spcAft>
              <a:buClr>
                <a:srgbClr val="333399"/>
              </a:buClr>
              <a:buSzTx/>
              <a:buFont typeface="Courier New" panose="02070309020205020404" pitchFamily="49" charset="0"/>
              <a:buChar char="­"/>
              <a:tabLst/>
              <a:defRPr lang="en-US" sz="2800" kern="1200" noProof="0" dirty="0" smtClean="0">
                <a:solidFill>
                  <a:schemeClr val="tx1"/>
                </a:solidFill>
                <a:latin typeface="Arial" panose="020B0604020202020204" pitchFamily="34" charset="0"/>
                <a:ea typeface="+mn-ea"/>
                <a:cs typeface="Arial" panose="020B0604020202020204" pitchFamily="34" charset="0"/>
              </a:defRPr>
            </a:lvl2pPr>
            <a:lvl3pPr marL="1143000" marR="0" indent="-228600" algn="l" defTabSz="457200" rtl="0" eaLnBrk="1" fontAlgn="auto" latinLnBrk="0" hangingPunct="1">
              <a:lnSpc>
                <a:spcPct val="100000"/>
              </a:lnSpc>
              <a:spcBef>
                <a:spcPct val="20000"/>
              </a:spcBef>
              <a:spcAft>
                <a:spcPts val="0"/>
              </a:spcAft>
              <a:buClr>
                <a:srgbClr val="174C7D"/>
              </a:buClr>
              <a:buSzTx/>
              <a:buFont typeface="Arial"/>
              <a:buChar char="•"/>
              <a:tabLst/>
              <a:defRPr lang="en-US" sz="2400" kern="1200" noProof="0" dirty="0" smtClean="0">
                <a:solidFill>
                  <a:schemeClr val="tx1"/>
                </a:solidFill>
                <a:latin typeface="Arial" panose="020B0604020202020204" pitchFamily="34" charset="0"/>
                <a:ea typeface="+mn-ea"/>
                <a:cs typeface="Arial" panose="020B0604020202020204" pitchFamily="34" charset="0"/>
              </a:defRPr>
            </a:lvl3pPr>
            <a:lvl4pPr marL="1600200" marR="0" indent="-228600" algn="l" defTabSz="457200" rtl="0" eaLnBrk="1" fontAlgn="auto" latinLnBrk="0" hangingPunct="1">
              <a:lnSpc>
                <a:spcPct val="100000"/>
              </a:lnSpc>
              <a:spcBef>
                <a:spcPct val="20000"/>
              </a:spcBef>
              <a:spcAft>
                <a:spcPts val="0"/>
              </a:spcAft>
              <a:buClr>
                <a:schemeClr val="accent6"/>
              </a:buClr>
              <a:buSzTx/>
              <a:buFont typeface="Arial"/>
              <a:buChar char="–"/>
              <a:tabLst/>
              <a:defRPr lang="en-US" sz="2000" kern="1200" noProof="0" dirty="0" smtClean="0">
                <a:solidFill>
                  <a:schemeClr val="tx1"/>
                </a:solidFill>
                <a:latin typeface="Arial" panose="020B0604020202020204" pitchFamily="34" charset="0"/>
                <a:ea typeface="+mn-ea"/>
                <a:cs typeface="Arial" panose="020B0604020202020204" pitchFamily="34" charset="0"/>
              </a:defRPr>
            </a:lvl4pPr>
            <a:lvl5pPr marL="2057400" marR="0" indent="-228600" algn="l" defTabSz="457200" rtl="0" eaLnBrk="1" fontAlgn="auto" latinLnBrk="0" hangingPunct="1">
              <a:lnSpc>
                <a:spcPct val="100000"/>
              </a:lnSpc>
              <a:spcBef>
                <a:spcPct val="20000"/>
              </a:spcBef>
              <a:spcAft>
                <a:spcPts val="0"/>
              </a:spcAft>
              <a:buClr>
                <a:schemeClr val="accent6"/>
              </a:buClr>
              <a:buSzPct val="80000"/>
              <a:buFont typeface="Wingdings" charset="2"/>
              <a:buChar char="§"/>
              <a:tabLst/>
              <a:defRPr lang="en-US" sz="1600" kern="1200" noProof="0" dirty="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ct val="20000"/>
              </a:spcBef>
              <a:spcAft>
                <a:spcPts val="0"/>
              </a:spcAft>
              <a:buClr>
                <a:srgbClr val="0070C0"/>
              </a:buClr>
              <a:buSzTx/>
              <a:buFont typeface="Arial"/>
              <a:buChar char="•"/>
              <a:tabLst/>
              <a:defRPr/>
            </a:pPr>
            <a:r>
              <a:rPr kumimoji="0" lang="en-US" sz="1400" b="1" i="0" u="none" strike="noStrike" kern="1200" cap="none" spc="0" normalizeH="0" baseline="0" noProof="0">
                <a:ln>
                  <a:noFill/>
                </a:ln>
                <a:solidFill>
                  <a:srgbClr val="FF0000"/>
                </a:solidFill>
                <a:effectLst/>
                <a:uLnTx/>
                <a:uFillTx/>
                <a:latin typeface="Calibri" panose="020F0502020204030204"/>
                <a:ea typeface="+mn-ea"/>
                <a:cs typeface="Arial"/>
              </a:rPr>
              <a:t>X:</a:t>
            </a:r>
            <a:r>
              <a:rPr kumimoji="0" lang="en-US" sz="1400" b="0" i="0" u="none" strike="noStrike" kern="1200" cap="none" spc="0" normalizeH="0" baseline="0" noProof="0">
                <a:ln>
                  <a:noFill/>
                </a:ln>
                <a:solidFill>
                  <a:srgbClr val="FF0000"/>
                </a:solidFill>
                <a:effectLst/>
                <a:uLnTx/>
                <a:uFillTx/>
                <a:latin typeface="Calibri" panose="020F0502020204030204"/>
                <a:ea typeface="+mn-ea"/>
                <a:cs typeface="Arial"/>
              </a:rPr>
              <a:t> </a:t>
            </a:r>
            <a:r>
              <a:rPr kumimoji="0" lang="en-US" sz="1400" b="1" i="0" u="none" strike="noStrike" kern="1200" cap="none" spc="0" normalizeH="0" baseline="0" noProof="0">
                <a:ln>
                  <a:noFill/>
                </a:ln>
                <a:solidFill>
                  <a:srgbClr val="FF0000"/>
                </a:solidFill>
                <a:effectLst/>
                <a:uLnTx/>
                <a:uFillTx/>
                <a:latin typeface="Calibri" panose="020F0502020204030204"/>
                <a:ea typeface="+mn-ea"/>
                <a:cs typeface="Arial"/>
              </a:rPr>
              <a:t>H5N1 clade 2.3.4.4b </a:t>
            </a:r>
            <a:r>
              <a:rPr kumimoji="0" lang="pt-BR" sz="1400" b="1" i="0" u="none" strike="noStrike" kern="1200" cap="none" spc="0" normalizeH="0" baseline="0" noProof="0">
                <a:ln>
                  <a:noFill/>
                </a:ln>
                <a:solidFill>
                  <a:srgbClr val="FF0000"/>
                </a:solidFill>
                <a:effectLst/>
                <a:uLnTx/>
                <a:uFillTx/>
                <a:latin typeface="Calibri" panose="020F0502020204030204"/>
                <a:ea typeface="+mn-ea"/>
                <a:cs typeface="Arial"/>
              </a:rPr>
              <a:t>[A/Texas/37/2024ª] (X)</a:t>
            </a:r>
          </a:p>
          <a:p>
            <a:pPr marL="457200" marR="0" lvl="1" indent="0" algn="l" defTabSz="457200" rtl="0" eaLnBrk="1" fontAlgn="auto" latinLnBrk="0" hangingPunct="1">
              <a:lnSpc>
                <a:spcPct val="100000"/>
              </a:lnSpc>
              <a:spcBef>
                <a:spcPct val="20000"/>
              </a:spcBef>
              <a:spcAft>
                <a:spcPts val="0"/>
              </a:spcAft>
              <a:buClr>
                <a:srgbClr val="333399"/>
              </a:buClr>
              <a:buSzTx/>
              <a:buFont typeface="Courier New" panose="02070309020205020404" pitchFamily="49" charset="0"/>
              <a:buNone/>
              <a:tabLst/>
              <a:defRPr/>
            </a:pPr>
            <a:r>
              <a:rPr kumimoji="0" lang="en-US" sz="1400" b="1" i="0" u="none" strike="noStrike" kern="1200" cap="none" spc="0" normalizeH="0" baseline="0" noProof="0">
                <a:ln>
                  <a:noFill/>
                </a:ln>
                <a:solidFill>
                  <a:srgbClr val="FF0000"/>
                </a:solidFill>
                <a:effectLst/>
                <a:uLnTx/>
                <a:uFillTx/>
                <a:latin typeface="Calibri" panose="020F0502020204030204"/>
                <a:ea typeface="+mn-ea"/>
                <a:cs typeface="Arial"/>
              </a:rPr>
              <a:t>Emergence = 5.8, Impact = 6.1</a:t>
            </a:r>
            <a:endParaRPr kumimoji="0" lang="en-US" sz="1400" b="1" i="0" u="none" strike="noStrike" kern="1200" cap="none" spc="0" normalizeH="0" baseline="0" noProof="0">
              <a:ln>
                <a:noFill/>
              </a:ln>
              <a:solidFill>
                <a:srgbClr val="FF0000"/>
              </a:solidFill>
              <a:effectLst/>
              <a:uLnTx/>
              <a:uFillTx/>
              <a:latin typeface="Calibri" panose="020F0502020204030204"/>
              <a:ea typeface="+mn-ea"/>
              <a:cs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
                <a:srgbClr val="0070C0"/>
              </a:buClr>
              <a:buSzTx/>
              <a:buFont typeface="Arial"/>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Arial"/>
              </a:rPr>
              <a:t>A: Highest emergence score Eurasian Avian/swine H1N1 in China</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400050" marR="0" lvl="1" indent="0" algn="l" defTabSz="457200" rtl="0" eaLnBrk="1" fontAlgn="auto" latinLnBrk="0" hangingPunct="1">
              <a:lnSpc>
                <a:spcPct val="100000"/>
              </a:lnSpc>
              <a:spcBef>
                <a:spcPct val="20000"/>
              </a:spcBef>
              <a:spcAft>
                <a:spcPts val="0"/>
              </a:spcAft>
              <a:buClr>
                <a:srgbClr val="0070C0"/>
              </a:buClr>
              <a:buSzTx/>
              <a:buFont typeface="Courier New" panose="02070309020205020404" pitchFamily="49" charset="0"/>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Arial"/>
              </a:rPr>
              <a:t>Emergence = 7.5, Impact = 6.9</a:t>
            </a:r>
          </a:p>
          <a:p>
            <a:pPr marL="342900" marR="0" lvl="0" indent="-342900" algn="l" defTabSz="457200" rtl="0" eaLnBrk="1" fontAlgn="auto" latinLnBrk="0" hangingPunct="1">
              <a:lnSpc>
                <a:spcPct val="100000"/>
              </a:lnSpc>
              <a:spcBef>
                <a:spcPct val="20000"/>
              </a:spcBef>
              <a:spcAft>
                <a:spcPts val="0"/>
              </a:spcAft>
              <a:buClr>
                <a:srgbClr val="0070C0"/>
              </a:buClr>
              <a:buSzTx/>
              <a:buFont typeface="Arial"/>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Arial"/>
              </a:rPr>
              <a:t>C: Highest Impact score avian H7N9 in China </a:t>
            </a:r>
          </a:p>
          <a:p>
            <a:pPr marL="0" marR="0" lvl="0" indent="0" algn="l" defTabSz="457200" rtl="0" eaLnBrk="1" fontAlgn="auto" latinLnBrk="0" hangingPunct="1">
              <a:lnSpc>
                <a:spcPct val="100000"/>
              </a:lnSpc>
              <a:spcBef>
                <a:spcPct val="20000"/>
              </a:spcBef>
              <a:spcAft>
                <a:spcPts val="0"/>
              </a:spcAft>
              <a:buClr>
                <a:srgbClr val="0070C0"/>
              </a:buClr>
              <a:buSzTx/>
              <a:buFont typeface="Arial"/>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Arial"/>
              </a:rPr>
              <a:t>	Emergence = 6.5, Impact = 7.5</a:t>
            </a:r>
          </a:p>
          <a:p>
            <a:pPr marL="0" marR="0" lvl="0" indent="0" algn="l" defTabSz="457200" rtl="0" eaLnBrk="1" fontAlgn="auto" latinLnBrk="0" hangingPunct="1">
              <a:lnSpc>
                <a:spcPct val="100000"/>
              </a:lnSpc>
              <a:spcBef>
                <a:spcPct val="20000"/>
              </a:spcBef>
              <a:spcAft>
                <a:spcPts val="0"/>
              </a:spcAft>
              <a:buClr>
                <a:srgbClr val="0070C0"/>
              </a:buClr>
              <a:buSzTx/>
              <a:buFont typeface="Arial"/>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a:p>
            <a:pPr marL="742950" marR="0" lvl="1" indent="-285750" algn="l" defTabSz="457200" rtl="0" eaLnBrk="1" fontAlgn="auto" latinLnBrk="0" hangingPunct="1">
              <a:lnSpc>
                <a:spcPct val="100000"/>
              </a:lnSpc>
              <a:spcBef>
                <a:spcPct val="20000"/>
              </a:spcBef>
              <a:spcAft>
                <a:spcPts val="0"/>
              </a:spcAft>
              <a:buClr>
                <a:srgbClr val="333399"/>
              </a:buClr>
              <a:buSzTx/>
              <a:buFont typeface="Courier New" panose="02070309020205020404" pitchFamily="49" charset="0"/>
              <a:buChar char="­"/>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
                <a:srgbClr val="0070C0"/>
              </a:buClr>
              <a:buSzTx/>
              <a:buFont typeface="Arial"/>
              <a:buChar char="•"/>
              <a:tabLst/>
              <a:defRPr/>
            </a:pPr>
            <a:endParaRPr kumimoji="0" lang="en-US" sz="1400" b="0" i="0" u="none" strike="noStrike" kern="1200" cap="none" spc="0" normalizeH="0" baseline="0" noProof="0">
              <a:ln>
                <a:noFill/>
              </a:ln>
              <a:solidFill>
                <a:srgbClr val="0000FF"/>
              </a:solidFill>
              <a:effectLst/>
              <a:uLnTx/>
              <a:uFillTx/>
              <a:latin typeface="Calibri" panose="020F0502020204030204"/>
              <a:ea typeface="+mn-ea"/>
              <a:cs typeface="Arial" panose="020B0604020202020204" pitchFamily="34" charset="0"/>
            </a:endParaRPr>
          </a:p>
        </p:txBody>
      </p:sp>
      <p:graphicFrame>
        <p:nvGraphicFramePr>
          <p:cNvPr id="26" name="Table 25">
            <a:extLst>
              <a:ext uri="{FF2B5EF4-FFF2-40B4-BE49-F238E27FC236}">
                <a16:creationId xmlns:a16="http://schemas.microsoft.com/office/drawing/2014/main" id="{BB70E917-5872-BD54-D57E-730CFB6253DB}"/>
              </a:ext>
            </a:extLst>
          </p:cNvPr>
          <p:cNvGraphicFramePr>
            <a:graphicFrameLocks noGrp="1"/>
          </p:cNvGraphicFramePr>
          <p:nvPr/>
        </p:nvGraphicFramePr>
        <p:xfrm>
          <a:off x="7091487" y="1057391"/>
          <a:ext cx="4882399" cy="3977640"/>
        </p:xfrm>
        <a:graphic>
          <a:graphicData uri="http://schemas.openxmlformats.org/drawingml/2006/table">
            <a:tbl>
              <a:tblPr>
                <a:tableStyleId>{5940675A-B579-460E-94D1-54222C63F5DA}</a:tableStyleId>
              </a:tblPr>
              <a:tblGrid>
                <a:gridCol w="469348">
                  <a:extLst>
                    <a:ext uri="{9D8B030D-6E8A-4147-A177-3AD203B41FA5}">
                      <a16:colId xmlns:a16="http://schemas.microsoft.com/office/drawing/2014/main" val="3137485139"/>
                    </a:ext>
                  </a:extLst>
                </a:gridCol>
                <a:gridCol w="2902776">
                  <a:extLst>
                    <a:ext uri="{9D8B030D-6E8A-4147-A177-3AD203B41FA5}">
                      <a16:colId xmlns:a16="http://schemas.microsoft.com/office/drawing/2014/main" val="3993974285"/>
                    </a:ext>
                  </a:extLst>
                </a:gridCol>
                <a:gridCol w="706670">
                  <a:extLst>
                    <a:ext uri="{9D8B030D-6E8A-4147-A177-3AD203B41FA5}">
                      <a16:colId xmlns:a16="http://schemas.microsoft.com/office/drawing/2014/main" val="604424448"/>
                    </a:ext>
                  </a:extLst>
                </a:gridCol>
                <a:gridCol w="803605">
                  <a:extLst>
                    <a:ext uri="{9D8B030D-6E8A-4147-A177-3AD203B41FA5}">
                      <a16:colId xmlns:a16="http://schemas.microsoft.com/office/drawing/2014/main" val="3264977316"/>
                    </a:ext>
                  </a:extLst>
                </a:gridCol>
              </a:tblGrid>
              <a:tr h="393700">
                <a:tc>
                  <a:txBody>
                    <a:bodyPr/>
                    <a:lstStyle/>
                    <a:p>
                      <a:pPr algn="ctr" fontAlgn="ctr"/>
                      <a:r>
                        <a:rPr lang="en-US" sz="1100" u="none" strike="noStrike">
                          <a:effectLst/>
                        </a:rPr>
                        <a:t>Data label</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ctr"/>
                      <a:r>
                        <a:rPr lang="en-US" sz="1200" u="none" strike="noStrike">
                          <a:effectLst/>
                        </a:rPr>
                        <a:t>Influenza Virus</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Emergence Score</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Impact Score</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78223230"/>
                  </a:ext>
                </a:extLst>
              </a:tr>
              <a:tr h="196850">
                <a:tc>
                  <a:txBody>
                    <a:bodyPr/>
                    <a:lstStyle/>
                    <a:p>
                      <a:pPr algn="ctr" fontAlgn="b"/>
                      <a:r>
                        <a:rPr lang="en-US" sz="1100" u="none" strike="noStrike">
                          <a:effectLst/>
                        </a:rPr>
                        <a:t>A</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1N1) [A/swine/Shandong/1207/2016]</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7.5</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6.9</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513372708"/>
                  </a:ext>
                </a:extLst>
              </a:tr>
              <a:tr h="196850">
                <a:tc>
                  <a:txBody>
                    <a:bodyPr/>
                    <a:lstStyle/>
                    <a:p>
                      <a:pPr algn="ctr" fontAlgn="b"/>
                      <a:r>
                        <a:rPr lang="en-US" sz="1100" u="none" strike="noStrike">
                          <a:effectLst/>
                        </a:rPr>
                        <a:t>B</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3N2) variant [A/Ohio/13/2017]</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6.6</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5.8</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423842322"/>
                  </a:ext>
                </a:extLst>
              </a:tr>
              <a:tr h="196850">
                <a:tc>
                  <a:txBody>
                    <a:bodyPr/>
                    <a:lstStyle/>
                    <a:p>
                      <a:pPr algn="ctr" fontAlgn="b"/>
                      <a:r>
                        <a:rPr lang="en-US" sz="1100" u="none" strike="noStrike">
                          <a:effectLst/>
                        </a:rPr>
                        <a:t>C</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7N9) [A/Hong Kong/125/2017]</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6.5</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7.5</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179961053"/>
                  </a:ext>
                </a:extLst>
              </a:tr>
              <a:tr h="196850">
                <a:tc>
                  <a:txBody>
                    <a:bodyPr/>
                    <a:lstStyle/>
                    <a:p>
                      <a:pPr algn="ctr" fontAlgn="b"/>
                      <a:r>
                        <a:rPr lang="en-US" sz="1100" u="none" strike="noStrike">
                          <a:effectLst/>
                        </a:rPr>
                        <a:t>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9N2) Y280 lineage [A/Anhui-Lujiang/13/2018]</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6.2</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5.9</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643863521"/>
                  </a:ext>
                </a:extLst>
              </a:tr>
              <a:tr h="196850">
                <a:tc>
                  <a:txBody>
                    <a:bodyPr/>
                    <a:lstStyle/>
                    <a:p>
                      <a:pPr algn="ctr" fontAlgn="b"/>
                      <a:r>
                        <a:rPr lang="en-US" sz="1100" u="none" strike="noStrike">
                          <a:effectLst/>
                        </a:rPr>
                        <a:t>F</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3N2) variant [A/Indiana/08/2011]</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6.0</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4.5</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301903512"/>
                  </a:ext>
                </a:extLst>
              </a:tr>
              <a:tr h="196850">
                <a:tc>
                  <a:txBody>
                    <a:bodyPr/>
                    <a:lstStyle/>
                    <a:p>
                      <a:pPr algn="ctr" fontAlgn="b"/>
                      <a:r>
                        <a:rPr lang="en-US" sz="1100" b="1" u="none" strike="noStrike">
                          <a:solidFill>
                            <a:srgbClr val="FF0000"/>
                          </a:solidFill>
                          <a:effectLst/>
                        </a:rPr>
                        <a:t>X</a:t>
                      </a:r>
                      <a:endParaRPr lang="en-US" sz="1100" b="1" i="0" u="none" strike="noStrike">
                        <a:solidFill>
                          <a:srgbClr val="FF0000"/>
                        </a:solidFill>
                        <a:effectLst/>
                        <a:latin typeface="Calibri" panose="020F0502020204030204" pitchFamily="34" charset="0"/>
                      </a:endParaRPr>
                    </a:p>
                  </a:txBody>
                  <a:tcPr marL="6350" marR="6350" marT="6350" marB="0" anchor="b"/>
                </a:tc>
                <a:tc>
                  <a:txBody>
                    <a:bodyPr/>
                    <a:lstStyle/>
                    <a:p>
                      <a:pPr algn="l" fontAlgn="t"/>
                      <a:r>
                        <a:rPr lang="pt-BR" sz="1100" b="1" u="none" strike="noStrike">
                          <a:solidFill>
                            <a:srgbClr val="FF0000"/>
                          </a:solidFill>
                          <a:effectLst/>
                        </a:rPr>
                        <a:t> A(H5N1) clade 2.3.4.4b [A/Texas/37/2024A]</a:t>
                      </a:r>
                      <a:endParaRPr lang="pt-BR" sz="1100" b="1" i="0" u="none" strike="noStrike">
                        <a:solidFill>
                          <a:srgbClr val="FF0000"/>
                        </a:solidFill>
                        <a:effectLst/>
                        <a:latin typeface="Arial" panose="020B0604020202020204" pitchFamily="34" charset="0"/>
                      </a:endParaRPr>
                    </a:p>
                  </a:txBody>
                  <a:tcPr marL="6350" marR="6350" marT="6350" marB="0"/>
                </a:tc>
                <a:tc>
                  <a:txBody>
                    <a:bodyPr/>
                    <a:lstStyle/>
                    <a:p>
                      <a:pPr algn="ctr" fontAlgn="ctr"/>
                      <a:r>
                        <a:rPr lang="en-US" sz="1200" b="1" u="none" strike="noStrike">
                          <a:solidFill>
                            <a:srgbClr val="FF0000"/>
                          </a:solidFill>
                          <a:effectLst/>
                        </a:rPr>
                        <a:t>5.8</a:t>
                      </a:r>
                      <a:endParaRPr lang="en-US" sz="1200" b="1" i="0" u="none" strike="noStrike">
                        <a:solidFill>
                          <a:srgbClr val="FF0000"/>
                        </a:solidFill>
                        <a:effectLst/>
                        <a:latin typeface="Arial" panose="020B0604020202020204" pitchFamily="34" charset="0"/>
                      </a:endParaRPr>
                    </a:p>
                  </a:txBody>
                  <a:tcPr marL="6350" marR="6350" marT="6350" marB="0" anchor="ctr"/>
                </a:tc>
                <a:tc>
                  <a:txBody>
                    <a:bodyPr/>
                    <a:lstStyle/>
                    <a:p>
                      <a:pPr algn="ctr" fontAlgn="ctr"/>
                      <a:r>
                        <a:rPr lang="en-US" sz="1200" b="1" u="none" strike="noStrike">
                          <a:solidFill>
                            <a:srgbClr val="FF0000"/>
                          </a:solidFill>
                          <a:effectLst/>
                        </a:rPr>
                        <a:t>6.1</a:t>
                      </a:r>
                      <a:endParaRPr lang="en-US" sz="1200" b="1" i="0" u="none" strike="noStrike">
                        <a:solidFill>
                          <a:srgbClr val="FF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493206359"/>
                  </a:ext>
                </a:extLst>
              </a:tr>
              <a:tr h="196850">
                <a:tc>
                  <a:txBody>
                    <a:bodyPr/>
                    <a:lstStyle/>
                    <a:p>
                      <a:pPr algn="ctr" fontAlgn="b"/>
                      <a:r>
                        <a:rPr lang="en-US" sz="1100" u="none" strike="noStrike">
                          <a:effectLst/>
                        </a:rPr>
                        <a:t>G</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1N2) variant [A/California/62/2018]</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5.8</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5.7</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35434005"/>
                  </a:ext>
                </a:extLst>
              </a:tr>
              <a:tr h="196850">
                <a:tc>
                  <a:txBody>
                    <a:bodyPr/>
                    <a:lstStyle/>
                    <a:p>
                      <a:pPr algn="ctr" fontAlgn="b"/>
                      <a:r>
                        <a:rPr lang="en-US" sz="1100" u="none" strike="noStrike">
                          <a:effectLst/>
                        </a:rPr>
                        <a:t>I</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5N6) clade 2.3.4.4b [A/Sichuan/06681/2021]</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5.3</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6.3</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412848979"/>
                  </a:ext>
                </a:extLst>
              </a:tr>
              <a:tr h="196850">
                <a:tc>
                  <a:txBody>
                    <a:bodyPr/>
                    <a:lstStyle/>
                    <a:p>
                      <a:pPr algn="ctr" fontAlgn="b"/>
                      <a:r>
                        <a:rPr lang="en-US" sz="1100" u="none" strike="noStrike">
                          <a:effectLst/>
                        </a:rPr>
                        <a:t>J</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5N1) Clade 1 [A/Vietnam/1203/2004]</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5.2</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6.6</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899187524"/>
                  </a:ext>
                </a:extLst>
              </a:tr>
              <a:tr h="196850">
                <a:tc>
                  <a:txBody>
                    <a:bodyPr/>
                    <a:lstStyle/>
                    <a:p>
                      <a:pPr algn="ctr" fontAlgn="b"/>
                      <a:r>
                        <a:rPr lang="en-US" sz="1100" u="none" strike="noStrike">
                          <a:solidFill>
                            <a:schemeClr val="accent2">
                              <a:lumMod val="75000"/>
                            </a:schemeClr>
                          </a:solidFill>
                          <a:effectLst/>
                        </a:rPr>
                        <a:t>K</a:t>
                      </a:r>
                      <a:endParaRPr lang="en-US" sz="1100" b="0" i="0" u="none" strike="noStrike">
                        <a:solidFill>
                          <a:schemeClr val="accent2">
                            <a:lumMod val="75000"/>
                          </a:schemeClr>
                        </a:solidFill>
                        <a:effectLst/>
                        <a:latin typeface="Calibri" panose="020F0502020204030204" pitchFamily="34" charset="0"/>
                      </a:endParaRPr>
                    </a:p>
                  </a:txBody>
                  <a:tcPr marL="6350" marR="6350" marT="6350" marB="0" anchor="b"/>
                </a:tc>
                <a:tc>
                  <a:txBody>
                    <a:bodyPr/>
                    <a:lstStyle/>
                    <a:p>
                      <a:pPr algn="l" fontAlgn="t"/>
                      <a:r>
                        <a:rPr lang="pt-BR" sz="1100" u="none" strike="noStrike">
                          <a:solidFill>
                            <a:schemeClr val="accent2">
                              <a:lumMod val="75000"/>
                            </a:schemeClr>
                          </a:solidFill>
                          <a:effectLst/>
                        </a:rPr>
                        <a:t> A(H5N1) Clade 2.3.4.4b [A/mink/Spain/3691- 8_22VIR10586-10/2022]</a:t>
                      </a:r>
                      <a:endParaRPr lang="pt-BR" sz="1100" b="0" i="0" u="none" strike="noStrike">
                        <a:solidFill>
                          <a:schemeClr val="accent2">
                            <a:lumMod val="75000"/>
                          </a:schemeClr>
                        </a:solidFill>
                        <a:effectLst/>
                        <a:latin typeface="Arial" panose="020B0604020202020204" pitchFamily="34" charset="0"/>
                      </a:endParaRPr>
                    </a:p>
                  </a:txBody>
                  <a:tcPr marL="6350" marR="6350" marT="6350" marB="0"/>
                </a:tc>
                <a:tc>
                  <a:txBody>
                    <a:bodyPr/>
                    <a:lstStyle/>
                    <a:p>
                      <a:pPr algn="ctr" fontAlgn="ctr"/>
                      <a:r>
                        <a:rPr lang="en-US" sz="1200" u="none" strike="noStrike">
                          <a:solidFill>
                            <a:schemeClr val="accent2">
                              <a:lumMod val="75000"/>
                            </a:schemeClr>
                          </a:solidFill>
                          <a:effectLst/>
                        </a:rPr>
                        <a:t>5.1</a:t>
                      </a:r>
                      <a:endParaRPr lang="en-US" sz="1200" b="0" i="0" u="none" strike="noStrike">
                        <a:solidFill>
                          <a:schemeClr val="accent2">
                            <a:lumMod val="75000"/>
                          </a:schemeClr>
                        </a:solidFill>
                        <a:effectLst/>
                        <a:latin typeface="Arial" panose="020B0604020202020204" pitchFamily="34" charset="0"/>
                      </a:endParaRPr>
                    </a:p>
                  </a:txBody>
                  <a:tcPr marL="6350" marR="6350" marT="6350" marB="0" anchor="ctr"/>
                </a:tc>
                <a:tc>
                  <a:txBody>
                    <a:bodyPr/>
                    <a:lstStyle/>
                    <a:p>
                      <a:pPr algn="ctr" fontAlgn="ctr"/>
                      <a:r>
                        <a:rPr lang="en-US" sz="1200" u="none" strike="noStrike">
                          <a:solidFill>
                            <a:schemeClr val="accent2">
                              <a:lumMod val="75000"/>
                            </a:schemeClr>
                          </a:solidFill>
                          <a:effectLst/>
                        </a:rPr>
                        <a:t>6.2</a:t>
                      </a:r>
                      <a:endParaRPr lang="en-US" sz="1200" b="0" i="0" u="none" strike="noStrike">
                        <a:solidFill>
                          <a:schemeClr val="accent2">
                            <a:lumMod val="75000"/>
                          </a:schemeClr>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471145895"/>
                  </a:ext>
                </a:extLst>
              </a:tr>
              <a:tr h="196850">
                <a:tc>
                  <a:txBody>
                    <a:bodyPr/>
                    <a:lstStyle/>
                    <a:p>
                      <a:pPr algn="ctr" fontAlgn="b"/>
                      <a:r>
                        <a:rPr lang="en-US" sz="1100" u="none" strike="noStrike">
                          <a:effectLst/>
                        </a:rPr>
                        <a:t>L</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5N6) [A/Yunnan/14564/2015] – like</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5.0</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6.6</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606845902"/>
                  </a:ext>
                </a:extLst>
              </a:tr>
              <a:tr h="196850">
                <a:tc>
                  <a:txBody>
                    <a:bodyPr/>
                    <a:lstStyle/>
                    <a:p>
                      <a:pPr algn="ctr" fontAlgn="b"/>
                      <a:r>
                        <a:rPr lang="en-US" sz="1100" u="none" strike="noStrike">
                          <a:effectLst/>
                        </a:rPr>
                        <a:t>N</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5N8) clade 2.3.4.4b [A/Astrakhan/3212/2020]</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4.6</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5.2</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913911194"/>
                  </a:ext>
                </a:extLst>
              </a:tr>
              <a:tr h="196850">
                <a:tc>
                  <a:txBody>
                    <a:bodyPr/>
                    <a:lstStyle/>
                    <a:p>
                      <a:pPr algn="ctr" fontAlgn="b"/>
                      <a:r>
                        <a:rPr lang="en-US" sz="1100" u="none" strike="noStrike">
                          <a:solidFill>
                            <a:srgbClr val="00B050"/>
                          </a:solidFill>
                          <a:effectLst/>
                        </a:rPr>
                        <a:t>O</a:t>
                      </a:r>
                      <a:endParaRPr lang="en-US" sz="1100" b="0" i="0" u="none" strike="noStrike">
                        <a:solidFill>
                          <a:srgbClr val="00B050"/>
                        </a:solidFill>
                        <a:effectLst/>
                        <a:latin typeface="Calibri" panose="020F0502020204030204" pitchFamily="34" charset="0"/>
                      </a:endParaRPr>
                    </a:p>
                  </a:txBody>
                  <a:tcPr marL="6350" marR="6350" marT="6350" marB="0" anchor="b"/>
                </a:tc>
                <a:tc>
                  <a:txBody>
                    <a:bodyPr/>
                    <a:lstStyle/>
                    <a:p>
                      <a:pPr algn="l" fontAlgn="t"/>
                      <a:r>
                        <a:rPr lang="en-US" sz="1100" u="none" strike="noStrike">
                          <a:solidFill>
                            <a:srgbClr val="00B050"/>
                          </a:solidFill>
                          <a:effectLst/>
                        </a:rPr>
                        <a:t> A(H5N1) clade 2.3.4.4b [A/American  wigeon/South Carolina/AH0195145/2021]</a:t>
                      </a:r>
                      <a:endParaRPr lang="en-US" sz="1100" b="0" i="0" u="none" strike="noStrike">
                        <a:solidFill>
                          <a:srgbClr val="00B050"/>
                        </a:solidFill>
                        <a:effectLst/>
                        <a:latin typeface="Arial" panose="020B0604020202020204" pitchFamily="34" charset="0"/>
                      </a:endParaRPr>
                    </a:p>
                  </a:txBody>
                  <a:tcPr marL="6350" marR="6350" marT="6350" marB="0"/>
                </a:tc>
                <a:tc>
                  <a:txBody>
                    <a:bodyPr/>
                    <a:lstStyle/>
                    <a:p>
                      <a:pPr algn="ctr" fontAlgn="ctr"/>
                      <a:r>
                        <a:rPr lang="en-US" sz="1200" u="none" strike="noStrike">
                          <a:solidFill>
                            <a:srgbClr val="00B050"/>
                          </a:solidFill>
                          <a:effectLst/>
                        </a:rPr>
                        <a:t>4.4</a:t>
                      </a:r>
                      <a:endParaRPr lang="en-US" sz="1200" b="0" i="0" u="none" strike="noStrike">
                        <a:solidFill>
                          <a:srgbClr val="00B050"/>
                        </a:solidFill>
                        <a:effectLst/>
                        <a:latin typeface="Arial" panose="020B0604020202020204" pitchFamily="34" charset="0"/>
                      </a:endParaRPr>
                    </a:p>
                  </a:txBody>
                  <a:tcPr marL="6350" marR="6350" marT="6350" marB="0" anchor="ctr"/>
                </a:tc>
                <a:tc>
                  <a:txBody>
                    <a:bodyPr/>
                    <a:lstStyle/>
                    <a:p>
                      <a:pPr algn="ctr" fontAlgn="ctr"/>
                      <a:r>
                        <a:rPr lang="en-US" sz="1200" u="none" strike="noStrike">
                          <a:solidFill>
                            <a:srgbClr val="00B050"/>
                          </a:solidFill>
                          <a:effectLst/>
                        </a:rPr>
                        <a:t>5.1</a:t>
                      </a:r>
                      <a:endParaRPr lang="en-US" sz="1200" b="0" i="0" u="none" strike="noStrike">
                        <a:solidFill>
                          <a:srgbClr val="00B05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878655804"/>
                  </a:ext>
                </a:extLst>
              </a:tr>
              <a:tr h="196850">
                <a:tc>
                  <a:txBody>
                    <a:bodyPr/>
                    <a:lstStyle/>
                    <a:p>
                      <a:pPr algn="ctr" fontAlgn="b"/>
                      <a:r>
                        <a:rPr lang="en-US" sz="1100" u="none" strike="noStrike">
                          <a:effectLst/>
                        </a:rPr>
                        <a:t>Q</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5N8) [A/gyrfalcon/Washington/41088/2014]</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4.2</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4.6</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371492580"/>
                  </a:ext>
                </a:extLst>
              </a:tr>
              <a:tr h="196850">
                <a:tc>
                  <a:txBody>
                    <a:bodyPr/>
                    <a:lstStyle/>
                    <a:p>
                      <a:pPr algn="ctr" fontAlgn="b"/>
                      <a:r>
                        <a:rPr lang="en-US" sz="1100" u="none" strike="noStrike">
                          <a:effectLst/>
                        </a:rPr>
                        <a:t>U</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7N8) [A/turkey/Indiana/1573-2/2016]</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3.4</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3.9</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837386687"/>
                  </a:ext>
                </a:extLst>
              </a:tr>
              <a:tr h="196850">
                <a:tc>
                  <a:txBody>
                    <a:bodyPr/>
                    <a:lstStyle/>
                    <a:p>
                      <a:pPr algn="ctr" fontAlgn="b"/>
                      <a:r>
                        <a:rPr lang="en-US" sz="1100" u="none" strike="noStrike">
                          <a:effectLst/>
                        </a:rPr>
                        <a:t>V</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t"/>
                      <a:r>
                        <a:rPr lang="pt-BR" sz="1100" u="none" strike="noStrike">
                          <a:effectLst/>
                        </a:rPr>
                        <a:t> A(H7N9) [A/chicken/Tennessee/17-007431-3/2017]</a:t>
                      </a:r>
                      <a:endParaRPr lang="pt-BR" sz="1100" b="0" i="0" u="none" strike="noStrike">
                        <a:solidFill>
                          <a:srgbClr val="000000"/>
                        </a:solidFill>
                        <a:effectLst/>
                        <a:latin typeface="Arial" panose="020B0604020202020204" pitchFamily="34" charset="0"/>
                      </a:endParaRPr>
                    </a:p>
                  </a:txBody>
                  <a:tcPr marL="6350" marR="6350" marT="6350" marB="0"/>
                </a:tc>
                <a:tc>
                  <a:txBody>
                    <a:bodyPr/>
                    <a:lstStyle/>
                    <a:p>
                      <a:pPr algn="ctr" fontAlgn="ctr"/>
                      <a:r>
                        <a:rPr lang="en-US" sz="1200" u="none" strike="noStrike">
                          <a:effectLst/>
                        </a:rPr>
                        <a:t>3.1</a:t>
                      </a:r>
                      <a:endParaRPr lang="en-US" sz="12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200" u="none" strike="noStrike">
                          <a:effectLst/>
                        </a:rPr>
                        <a:t>3.5</a:t>
                      </a:r>
                      <a:endParaRPr lang="en-US" sz="12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035093712"/>
                  </a:ext>
                </a:extLst>
              </a:tr>
            </a:tbl>
          </a:graphicData>
        </a:graphic>
      </p:graphicFrame>
      <p:cxnSp>
        <p:nvCxnSpPr>
          <p:cNvPr id="4" name="Straight Arrow Connector 3">
            <a:extLst>
              <a:ext uri="{FF2B5EF4-FFF2-40B4-BE49-F238E27FC236}">
                <a16:creationId xmlns:a16="http://schemas.microsoft.com/office/drawing/2014/main" id="{437BDF95-8B0F-894D-6959-DF7D80A4184A}"/>
              </a:ext>
            </a:extLst>
          </p:cNvPr>
          <p:cNvCxnSpPr/>
          <p:nvPr/>
        </p:nvCxnSpPr>
        <p:spPr>
          <a:xfrm>
            <a:off x="3997761" y="2348845"/>
            <a:ext cx="233916" cy="77617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23FB9CFE-105D-E625-FFA9-618E0CD986EB}"/>
              </a:ext>
            </a:extLst>
          </p:cNvPr>
          <p:cNvSpPr txBox="1"/>
          <p:nvPr/>
        </p:nvSpPr>
        <p:spPr>
          <a:xfrm>
            <a:off x="3657771" y="2058278"/>
            <a:ext cx="161899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Calibri" panose="020F0502020204030204"/>
                <a:ea typeface="+mn-ea"/>
                <a:cs typeface="+mn-cs"/>
              </a:rPr>
              <a:t>X: Texas H5N1 2024</a:t>
            </a:r>
          </a:p>
        </p:txBody>
      </p:sp>
      <p:cxnSp>
        <p:nvCxnSpPr>
          <p:cNvPr id="6" name="Straight Arrow Connector 5">
            <a:extLst>
              <a:ext uri="{FF2B5EF4-FFF2-40B4-BE49-F238E27FC236}">
                <a16:creationId xmlns:a16="http://schemas.microsoft.com/office/drawing/2014/main" id="{9D6371FE-FAA2-483F-6774-7B8239A01D04}"/>
              </a:ext>
            </a:extLst>
          </p:cNvPr>
          <p:cNvCxnSpPr>
            <a:cxnSpLocks/>
          </p:cNvCxnSpPr>
          <p:nvPr/>
        </p:nvCxnSpPr>
        <p:spPr>
          <a:xfrm>
            <a:off x="2629517" y="2769172"/>
            <a:ext cx="1118869" cy="276999"/>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A68C67E-0832-7CC3-DF82-0F3F23A43DAC}"/>
              </a:ext>
            </a:extLst>
          </p:cNvPr>
          <p:cNvSpPr txBox="1"/>
          <p:nvPr/>
        </p:nvSpPr>
        <p:spPr>
          <a:xfrm>
            <a:off x="1393408" y="2525828"/>
            <a:ext cx="2070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lumMod val="75000"/>
                  </a:srgbClr>
                </a:solidFill>
                <a:effectLst/>
                <a:uLnTx/>
                <a:uFillTx/>
                <a:latin typeface="Calibri" panose="020F0502020204030204"/>
                <a:ea typeface="+mn-ea"/>
                <a:cs typeface="+mn-cs"/>
              </a:rPr>
              <a:t>K: mink/Spain H5N1 2022</a:t>
            </a:r>
          </a:p>
        </p:txBody>
      </p:sp>
      <p:cxnSp>
        <p:nvCxnSpPr>
          <p:cNvPr id="14" name="Straight Arrow Connector 13">
            <a:extLst>
              <a:ext uri="{FF2B5EF4-FFF2-40B4-BE49-F238E27FC236}">
                <a16:creationId xmlns:a16="http://schemas.microsoft.com/office/drawing/2014/main" id="{8670A680-0793-D50C-D83E-BB3C9446D081}"/>
              </a:ext>
            </a:extLst>
          </p:cNvPr>
          <p:cNvCxnSpPr>
            <a:cxnSpLocks/>
          </p:cNvCxnSpPr>
          <p:nvPr/>
        </p:nvCxnSpPr>
        <p:spPr>
          <a:xfrm>
            <a:off x="2091181" y="3292735"/>
            <a:ext cx="1181100" cy="267707"/>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8CEB9CC-2C3E-7B5B-A57D-E5045E0AAD8F}"/>
              </a:ext>
            </a:extLst>
          </p:cNvPr>
          <p:cNvSpPr txBox="1"/>
          <p:nvPr/>
        </p:nvSpPr>
        <p:spPr>
          <a:xfrm>
            <a:off x="708581" y="3091837"/>
            <a:ext cx="20701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B050"/>
                </a:solidFill>
                <a:effectLst/>
                <a:uLnTx/>
                <a:uFillTx/>
                <a:latin typeface="Calibri" panose="020F0502020204030204"/>
                <a:ea typeface="+mn-ea"/>
                <a:cs typeface="+mn-cs"/>
              </a:rPr>
              <a:t>O: wigeon/SC H5N1 2021</a:t>
            </a:r>
          </a:p>
        </p:txBody>
      </p:sp>
    </p:spTree>
    <p:extLst>
      <p:ext uri="{BB962C8B-B14F-4D97-AF65-F5344CB8AC3E}">
        <p14:creationId xmlns:p14="http://schemas.microsoft.com/office/powerpoint/2010/main" val="5515324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a:extLst>
            <a:ext uri="{FF2B5EF4-FFF2-40B4-BE49-F238E27FC236}">
              <a16:creationId xmlns:a16="http://schemas.microsoft.com/office/drawing/2014/main" id="{1A1A83B9-2FE8-7329-9148-A37017010DDB}"/>
            </a:ext>
          </a:extLst>
        </p:cNvPr>
        <p:cNvGrpSpPr/>
        <p:nvPr/>
      </p:nvGrpSpPr>
      <p:grpSpPr>
        <a:xfrm>
          <a:off x="0" y="0"/>
          <a:ext cx="0" cy="0"/>
          <a:chOff x="0" y="0"/>
          <a:chExt cx="0" cy="0"/>
        </a:xfrm>
      </p:grpSpPr>
      <p:grpSp>
        <p:nvGrpSpPr>
          <p:cNvPr id="20" name="Group 19">
            <a:extLst>
              <a:ext uri="{FF2B5EF4-FFF2-40B4-BE49-F238E27FC236}">
                <a16:creationId xmlns:a16="http://schemas.microsoft.com/office/drawing/2014/main" id="{6EE038B2-8488-0107-98FC-A73A0E034525}"/>
              </a:ext>
            </a:extLst>
          </p:cNvPr>
          <p:cNvGrpSpPr/>
          <p:nvPr/>
        </p:nvGrpSpPr>
        <p:grpSpPr>
          <a:xfrm rot="10800000">
            <a:off x="0" y="900753"/>
            <a:ext cx="12192000" cy="3894910"/>
            <a:chOff x="0" y="1381766"/>
            <a:chExt cx="12191756" cy="4095318"/>
          </a:xfrm>
        </p:grpSpPr>
        <p:sp>
          <p:nvSpPr>
            <p:cNvPr id="15" name="Freeform: Shape 14">
              <a:extLst>
                <a:ext uri="{FF2B5EF4-FFF2-40B4-BE49-F238E27FC236}">
                  <a16:creationId xmlns:a16="http://schemas.microsoft.com/office/drawing/2014/main" id="{1B82BE42-BC4F-1621-AE57-A5C957701EF8}"/>
                </a:ext>
              </a:extLst>
            </p:cNvPr>
            <p:cNvSpPr/>
            <p:nvPr/>
          </p:nvSpPr>
          <p:spPr>
            <a:xfrm>
              <a:off x="609" y="3397499"/>
              <a:ext cx="31744" cy="28393"/>
            </a:xfrm>
            <a:custGeom>
              <a:avLst/>
              <a:gdLst>
                <a:gd name="connsiteX0" fmla="*/ 4266 w 31744"/>
                <a:gd name="connsiteY0" fmla="*/ 28196 h 28393"/>
                <a:gd name="connsiteX1" fmla="*/ 0 w 31744"/>
                <a:gd name="connsiteY1" fmla="*/ 23809 h 28393"/>
                <a:gd name="connsiteX2" fmla="*/ 27906 w 31744"/>
                <a:gd name="connsiteY2" fmla="*/ -197 h 28393"/>
                <a:gd name="connsiteX3" fmla="*/ 31745 w 31744"/>
                <a:gd name="connsiteY3" fmla="*/ 4555 h 28393"/>
                <a:gd name="connsiteX4" fmla="*/ 4266 w 31744"/>
                <a:gd name="connsiteY4" fmla="*/ 28196 h 28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44" h="28393">
                  <a:moveTo>
                    <a:pt x="4266" y="28196"/>
                  </a:moveTo>
                  <a:lnTo>
                    <a:pt x="0" y="23809"/>
                  </a:lnTo>
                  <a:cubicBezTo>
                    <a:pt x="427" y="23443"/>
                    <a:pt x="9627" y="14548"/>
                    <a:pt x="27906" y="-197"/>
                  </a:cubicBezTo>
                  <a:lnTo>
                    <a:pt x="31745" y="4555"/>
                  </a:lnTo>
                  <a:cubicBezTo>
                    <a:pt x="13649" y="19117"/>
                    <a:pt x="4326" y="28074"/>
                    <a:pt x="4266" y="28196"/>
                  </a:cubicBezTo>
                  <a:close/>
                </a:path>
              </a:pathLst>
            </a:custGeom>
            <a:solidFill>
              <a:schemeClr val="bg1"/>
            </a:solidFill>
            <a:ln w="6093"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44FC5D6C-8A03-FC62-2977-0E0BBE7AA2EA}"/>
                </a:ext>
              </a:extLst>
            </p:cNvPr>
            <p:cNvSpPr/>
            <p:nvPr/>
          </p:nvSpPr>
          <p:spPr>
            <a:xfrm>
              <a:off x="87555" y="1849279"/>
              <a:ext cx="12011405" cy="2789415"/>
            </a:xfrm>
            <a:custGeom>
              <a:avLst/>
              <a:gdLst>
                <a:gd name="connsiteX0" fmla="*/ 3350638 w 12011405"/>
                <a:gd name="connsiteY0" fmla="*/ 2789218 h 2789415"/>
                <a:gd name="connsiteX1" fmla="*/ 3350333 w 12011405"/>
                <a:gd name="connsiteY1" fmla="*/ 2783125 h 2789415"/>
                <a:gd name="connsiteX2" fmla="*/ 3422961 w 12011405"/>
                <a:gd name="connsiteY2" fmla="*/ 2776484 h 2789415"/>
                <a:gd name="connsiteX3" fmla="*/ 3423814 w 12011405"/>
                <a:gd name="connsiteY3" fmla="*/ 2782577 h 2789415"/>
                <a:gd name="connsiteX4" fmla="*/ 3350638 w 12011405"/>
                <a:gd name="connsiteY4" fmla="*/ 2789218 h 2789415"/>
                <a:gd name="connsiteX5" fmla="*/ 3277096 w 12011405"/>
                <a:gd name="connsiteY5" fmla="*/ 2789218 h 2789415"/>
                <a:gd name="connsiteX6" fmla="*/ 3203980 w 12011405"/>
                <a:gd name="connsiteY6" fmla="*/ 2781419 h 2789415"/>
                <a:gd name="connsiteX7" fmla="*/ 3204955 w 12011405"/>
                <a:gd name="connsiteY7" fmla="*/ 2775326 h 2789415"/>
                <a:gd name="connsiteX8" fmla="*/ 3277217 w 12011405"/>
                <a:gd name="connsiteY8" fmla="*/ 2783064 h 2789415"/>
                <a:gd name="connsiteX9" fmla="*/ 3496077 w 12011405"/>
                <a:gd name="connsiteY9" fmla="*/ 2769904 h 2789415"/>
                <a:gd name="connsiteX10" fmla="*/ 3494797 w 12011405"/>
                <a:gd name="connsiteY10" fmla="*/ 2763811 h 2789415"/>
                <a:gd name="connsiteX11" fmla="*/ 3565414 w 12011405"/>
                <a:gd name="connsiteY11" fmla="*/ 2745532 h 2789415"/>
                <a:gd name="connsiteX12" fmla="*/ 3567120 w 12011405"/>
                <a:gd name="connsiteY12" fmla="*/ 2751625 h 2789415"/>
                <a:gd name="connsiteX13" fmla="*/ 3496077 w 12011405"/>
                <a:gd name="connsiteY13" fmla="*/ 2769599 h 2789415"/>
                <a:gd name="connsiteX14" fmla="*/ 3132571 w 12011405"/>
                <a:gd name="connsiteY14" fmla="*/ 2766065 h 2789415"/>
                <a:gd name="connsiteX15" fmla="*/ 3062867 w 12011405"/>
                <a:gd name="connsiteY15" fmla="*/ 2743399 h 2789415"/>
                <a:gd name="connsiteX16" fmla="*/ 3065000 w 12011405"/>
                <a:gd name="connsiteY16" fmla="*/ 2737672 h 2789415"/>
                <a:gd name="connsiteX17" fmla="*/ 3134155 w 12011405"/>
                <a:gd name="connsiteY17" fmla="*/ 2759972 h 2789415"/>
                <a:gd name="connsiteX18" fmla="*/ 3636702 w 12011405"/>
                <a:gd name="connsiteY18" fmla="*/ 2727923 h 2789415"/>
                <a:gd name="connsiteX19" fmla="*/ 3634630 w 12011405"/>
                <a:gd name="connsiteY19" fmla="*/ 2722257 h 2789415"/>
                <a:gd name="connsiteX20" fmla="*/ 3702323 w 12011405"/>
                <a:gd name="connsiteY20" fmla="*/ 2694838 h 2789415"/>
                <a:gd name="connsiteX21" fmla="*/ 3704760 w 12011405"/>
                <a:gd name="connsiteY21" fmla="*/ 2700444 h 2789415"/>
                <a:gd name="connsiteX22" fmla="*/ 3636702 w 12011405"/>
                <a:gd name="connsiteY22" fmla="*/ 2727618 h 2789415"/>
                <a:gd name="connsiteX23" fmla="*/ 2995723 w 12011405"/>
                <a:gd name="connsiteY23" fmla="*/ 2713970 h 2789415"/>
                <a:gd name="connsiteX24" fmla="*/ 2931442 w 12011405"/>
                <a:gd name="connsiteY24" fmla="*/ 2678692 h 2789415"/>
                <a:gd name="connsiteX25" fmla="*/ 2934611 w 12011405"/>
                <a:gd name="connsiteY25" fmla="*/ 2673452 h 2789415"/>
                <a:gd name="connsiteX26" fmla="*/ 2998404 w 12011405"/>
                <a:gd name="connsiteY26" fmla="*/ 2708547 h 2789415"/>
                <a:gd name="connsiteX27" fmla="*/ 3771295 w 12011405"/>
                <a:gd name="connsiteY27" fmla="*/ 2669370 h 2789415"/>
                <a:gd name="connsiteX28" fmla="*/ 3768553 w 12011405"/>
                <a:gd name="connsiteY28" fmla="*/ 2663947 h 2789415"/>
                <a:gd name="connsiteX29" fmla="*/ 3833321 w 12011405"/>
                <a:gd name="connsiteY29" fmla="*/ 2629948 h 2789415"/>
                <a:gd name="connsiteX30" fmla="*/ 3836246 w 12011405"/>
                <a:gd name="connsiteY30" fmla="*/ 2635310 h 2789415"/>
                <a:gd name="connsiteX31" fmla="*/ 3771295 w 12011405"/>
                <a:gd name="connsiteY31" fmla="*/ 2669065 h 2789415"/>
                <a:gd name="connsiteX32" fmla="*/ 2870269 w 12011405"/>
                <a:gd name="connsiteY32" fmla="*/ 2638113 h 2789415"/>
                <a:gd name="connsiteX33" fmla="*/ 2811899 w 12011405"/>
                <a:gd name="connsiteY33" fmla="*/ 2593634 h 2789415"/>
                <a:gd name="connsiteX34" fmla="*/ 2815737 w 12011405"/>
                <a:gd name="connsiteY34" fmla="*/ 2588882 h 2789415"/>
                <a:gd name="connsiteX35" fmla="*/ 2873803 w 12011405"/>
                <a:gd name="connsiteY35" fmla="*/ 2633178 h 2789415"/>
                <a:gd name="connsiteX36" fmla="*/ 3899978 w 12011405"/>
                <a:gd name="connsiteY36" fmla="*/ 2598448 h 2789415"/>
                <a:gd name="connsiteX37" fmla="*/ 3896871 w 12011405"/>
                <a:gd name="connsiteY37" fmla="*/ 2593208 h 2789415"/>
                <a:gd name="connsiteX38" fmla="*/ 3958836 w 12011405"/>
                <a:gd name="connsiteY38" fmla="*/ 2554396 h 2789415"/>
                <a:gd name="connsiteX39" fmla="*/ 3962187 w 12011405"/>
                <a:gd name="connsiteY39" fmla="*/ 2559514 h 2789415"/>
                <a:gd name="connsiteX40" fmla="*/ 3899978 w 12011405"/>
                <a:gd name="connsiteY40" fmla="*/ 2598326 h 2789415"/>
                <a:gd name="connsiteX41" fmla="*/ 2756514 w 12011405"/>
                <a:gd name="connsiteY41" fmla="*/ 2545744 h 2789415"/>
                <a:gd name="connsiteX42" fmla="*/ 2703322 w 12011405"/>
                <a:gd name="connsiteY42" fmla="*/ 2495172 h 2789415"/>
                <a:gd name="connsiteX43" fmla="*/ 2707587 w 12011405"/>
                <a:gd name="connsiteY43" fmla="*/ 2490846 h 2789415"/>
                <a:gd name="connsiteX44" fmla="*/ 2760596 w 12011405"/>
                <a:gd name="connsiteY44" fmla="*/ 2541235 h 2789415"/>
                <a:gd name="connsiteX45" fmla="*/ 4023056 w 12011405"/>
                <a:gd name="connsiteY45" fmla="*/ 2518691 h 2789415"/>
                <a:gd name="connsiteX46" fmla="*/ 4019583 w 12011405"/>
                <a:gd name="connsiteY46" fmla="*/ 2513634 h 2789415"/>
                <a:gd name="connsiteX47" fmla="*/ 4079111 w 12011405"/>
                <a:gd name="connsiteY47" fmla="*/ 2470983 h 2789415"/>
                <a:gd name="connsiteX48" fmla="*/ 4082706 w 12011405"/>
                <a:gd name="connsiteY48" fmla="*/ 2475918 h 2789415"/>
                <a:gd name="connsiteX49" fmla="*/ 4022812 w 12011405"/>
                <a:gd name="connsiteY49" fmla="*/ 2518569 h 2789415"/>
                <a:gd name="connsiteX50" fmla="*/ 2652141 w 12011405"/>
                <a:gd name="connsiteY50" fmla="*/ 2442468 h 2789415"/>
                <a:gd name="connsiteX51" fmla="*/ 2602849 w 12011405"/>
                <a:gd name="connsiteY51" fmla="*/ 2388119 h 2789415"/>
                <a:gd name="connsiteX52" fmla="*/ 2607419 w 12011405"/>
                <a:gd name="connsiteY52" fmla="*/ 2384098 h 2789415"/>
                <a:gd name="connsiteX53" fmla="*/ 2656589 w 12011405"/>
                <a:gd name="connsiteY53" fmla="*/ 2438325 h 2789415"/>
                <a:gd name="connsiteX54" fmla="*/ 4141442 w 12011405"/>
                <a:gd name="connsiteY54" fmla="*/ 2432415 h 2789415"/>
                <a:gd name="connsiteX55" fmla="*/ 4137786 w 12011405"/>
                <a:gd name="connsiteY55" fmla="*/ 2427540 h 2789415"/>
                <a:gd name="connsiteX56" fmla="*/ 4196218 w 12011405"/>
                <a:gd name="connsiteY56" fmla="*/ 2383488 h 2789415"/>
                <a:gd name="connsiteX57" fmla="*/ 4199934 w 12011405"/>
                <a:gd name="connsiteY57" fmla="*/ 2388302 h 2789415"/>
                <a:gd name="connsiteX58" fmla="*/ 4141320 w 12011405"/>
                <a:gd name="connsiteY58" fmla="*/ 2432293 h 2789415"/>
                <a:gd name="connsiteX59" fmla="*/ 4258122 w 12011405"/>
                <a:gd name="connsiteY59" fmla="*/ 2343823 h 2789415"/>
                <a:gd name="connsiteX60" fmla="*/ 4254405 w 12011405"/>
                <a:gd name="connsiteY60" fmla="*/ 2339010 h 2789415"/>
                <a:gd name="connsiteX61" fmla="*/ 4312227 w 12011405"/>
                <a:gd name="connsiteY61" fmla="*/ 2294105 h 2789415"/>
                <a:gd name="connsiteX62" fmla="*/ 4315944 w 12011405"/>
                <a:gd name="connsiteY62" fmla="*/ 2298857 h 2789415"/>
                <a:gd name="connsiteX63" fmla="*/ 4258000 w 12011405"/>
                <a:gd name="connsiteY63" fmla="*/ 2343701 h 2789415"/>
                <a:gd name="connsiteX64" fmla="*/ 2555020 w 12011405"/>
                <a:gd name="connsiteY64" fmla="*/ 2332429 h 2789415"/>
                <a:gd name="connsiteX65" fmla="*/ 2508348 w 12011405"/>
                <a:gd name="connsiteY65" fmla="*/ 2275887 h 2789415"/>
                <a:gd name="connsiteX66" fmla="*/ 2513100 w 12011405"/>
                <a:gd name="connsiteY66" fmla="*/ 2272048 h 2789415"/>
                <a:gd name="connsiteX67" fmla="*/ 2559711 w 12011405"/>
                <a:gd name="connsiteY67" fmla="*/ 2328530 h 2789415"/>
                <a:gd name="connsiteX68" fmla="*/ 4373401 w 12011405"/>
                <a:gd name="connsiteY68" fmla="*/ 2253465 h 2789415"/>
                <a:gd name="connsiteX69" fmla="*/ 4369623 w 12011405"/>
                <a:gd name="connsiteY69" fmla="*/ 2248651 h 2789415"/>
                <a:gd name="connsiteX70" fmla="*/ 4426836 w 12011405"/>
                <a:gd name="connsiteY70" fmla="*/ 2202954 h 2789415"/>
                <a:gd name="connsiteX71" fmla="*/ 4430614 w 12011405"/>
                <a:gd name="connsiteY71" fmla="*/ 2207707 h 2789415"/>
                <a:gd name="connsiteX72" fmla="*/ 4373401 w 12011405"/>
                <a:gd name="connsiteY72" fmla="*/ 2253465 h 2789415"/>
                <a:gd name="connsiteX73" fmla="*/ 2462407 w 12011405"/>
                <a:gd name="connsiteY73" fmla="*/ 2218491 h 2789415"/>
                <a:gd name="connsiteX74" fmla="*/ 2417136 w 12011405"/>
                <a:gd name="connsiteY74" fmla="*/ 2160791 h 2789415"/>
                <a:gd name="connsiteX75" fmla="*/ 2421950 w 12011405"/>
                <a:gd name="connsiteY75" fmla="*/ 2157074 h 2789415"/>
                <a:gd name="connsiteX76" fmla="*/ 2467220 w 12011405"/>
                <a:gd name="connsiteY76" fmla="*/ 2214714 h 2789415"/>
                <a:gd name="connsiteX77" fmla="*/ 4487583 w 12011405"/>
                <a:gd name="connsiteY77" fmla="*/ 2161644 h 2789415"/>
                <a:gd name="connsiteX78" fmla="*/ 4483744 w 12011405"/>
                <a:gd name="connsiteY78" fmla="*/ 2156952 h 2789415"/>
                <a:gd name="connsiteX79" fmla="*/ 4540348 w 12011405"/>
                <a:gd name="connsiteY79" fmla="*/ 2110524 h 2789415"/>
                <a:gd name="connsiteX80" fmla="*/ 4544247 w 12011405"/>
                <a:gd name="connsiteY80" fmla="*/ 2115216 h 2789415"/>
                <a:gd name="connsiteX81" fmla="*/ 4487583 w 12011405"/>
                <a:gd name="connsiteY81" fmla="*/ 2161644 h 2789415"/>
                <a:gd name="connsiteX82" fmla="*/ 2372109 w 12011405"/>
                <a:gd name="connsiteY82" fmla="*/ 2102786 h 2789415"/>
                <a:gd name="connsiteX83" fmla="*/ 2327082 w 12011405"/>
                <a:gd name="connsiteY83" fmla="*/ 2044903 h 2789415"/>
                <a:gd name="connsiteX84" fmla="*/ 2331896 w 12011405"/>
                <a:gd name="connsiteY84" fmla="*/ 2041186 h 2789415"/>
                <a:gd name="connsiteX85" fmla="*/ 2376923 w 12011405"/>
                <a:gd name="connsiteY85" fmla="*/ 2099069 h 2789415"/>
                <a:gd name="connsiteX86" fmla="*/ 9716555 w 12011405"/>
                <a:gd name="connsiteY86" fmla="*/ 2084812 h 2789415"/>
                <a:gd name="connsiteX87" fmla="*/ 9691391 w 12011405"/>
                <a:gd name="connsiteY87" fmla="*/ 2084812 h 2789415"/>
                <a:gd name="connsiteX88" fmla="*/ 9691391 w 12011405"/>
                <a:gd name="connsiteY88" fmla="*/ 2078719 h 2789415"/>
                <a:gd name="connsiteX89" fmla="*/ 9764507 w 12011405"/>
                <a:gd name="connsiteY89" fmla="*/ 2078170 h 2789415"/>
                <a:gd name="connsiteX90" fmla="*/ 9764507 w 12011405"/>
                <a:gd name="connsiteY90" fmla="*/ 2084263 h 2789415"/>
                <a:gd name="connsiteX91" fmla="*/ 9716555 w 12011405"/>
                <a:gd name="connsiteY91" fmla="*/ 2084812 h 2789415"/>
                <a:gd name="connsiteX92" fmla="*/ 9618093 w 12011405"/>
                <a:gd name="connsiteY92" fmla="*/ 2081826 h 2789415"/>
                <a:gd name="connsiteX93" fmla="*/ 9544978 w 12011405"/>
                <a:gd name="connsiteY93" fmla="*/ 2075733 h 2789415"/>
                <a:gd name="connsiteX94" fmla="*/ 9545587 w 12011405"/>
                <a:gd name="connsiteY94" fmla="*/ 2069640 h 2789415"/>
                <a:gd name="connsiteX95" fmla="*/ 9618702 w 12011405"/>
                <a:gd name="connsiteY95" fmla="*/ 2075733 h 2789415"/>
                <a:gd name="connsiteX96" fmla="*/ 9838049 w 12011405"/>
                <a:gd name="connsiteY96" fmla="*/ 2080059 h 2789415"/>
                <a:gd name="connsiteX97" fmla="*/ 9837561 w 12011405"/>
                <a:gd name="connsiteY97" fmla="*/ 2073966 h 2789415"/>
                <a:gd name="connsiteX98" fmla="*/ 9910251 w 12011405"/>
                <a:gd name="connsiteY98" fmla="*/ 2066472 h 2789415"/>
                <a:gd name="connsiteX99" fmla="*/ 9910982 w 12011405"/>
                <a:gd name="connsiteY99" fmla="*/ 2072565 h 2789415"/>
                <a:gd name="connsiteX100" fmla="*/ 9838049 w 12011405"/>
                <a:gd name="connsiteY100" fmla="*/ 2080059 h 2789415"/>
                <a:gd name="connsiteX101" fmla="*/ 4600668 w 12011405"/>
                <a:gd name="connsiteY101" fmla="*/ 2068422 h 2789415"/>
                <a:gd name="connsiteX102" fmla="*/ 4596768 w 12011405"/>
                <a:gd name="connsiteY102" fmla="*/ 2063791 h 2789415"/>
                <a:gd name="connsiteX103" fmla="*/ 4652824 w 12011405"/>
                <a:gd name="connsiteY103" fmla="*/ 2016693 h 2789415"/>
                <a:gd name="connsiteX104" fmla="*/ 4656784 w 12011405"/>
                <a:gd name="connsiteY104" fmla="*/ 2021384 h 2789415"/>
                <a:gd name="connsiteX105" fmla="*/ 4600668 w 12011405"/>
                <a:gd name="connsiteY105" fmla="*/ 2068422 h 2789415"/>
                <a:gd name="connsiteX106" fmla="*/ 9472289 w 12011405"/>
                <a:gd name="connsiteY106" fmla="*/ 2066837 h 2789415"/>
                <a:gd name="connsiteX107" fmla="*/ 9399783 w 12011405"/>
                <a:gd name="connsiteY107" fmla="*/ 2055017 h 2789415"/>
                <a:gd name="connsiteX108" fmla="*/ 9400879 w 12011405"/>
                <a:gd name="connsiteY108" fmla="*/ 2048924 h 2789415"/>
                <a:gd name="connsiteX109" fmla="*/ 9473141 w 12011405"/>
                <a:gd name="connsiteY109" fmla="*/ 2060683 h 2789415"/>
                <a:gd name="connsiteX110" fmla="*/ 9983548 w 12011405"/>
                <a:gd name="connsiteY110" fmla="*/ 2061476 h 2789415"/>
                <a:gd name="connsiteX111" fmla="*/ 9982513 w 12011405"/>
                <a:gd name="connsiteY111" fmla="*/ 2055383 h 2789415"/>
                <a:gd name="connsiteX112" fmla="*/ 10054044 w 12011405"/>
                <a:gd name="connsiteY112" fmla="*/ 2040760 h 2789415"/>
                <a:gd name="connsiteX113" fmla="*/ 10055445 w 12011405"/>
                <a:gd name="connsiteY113" fmla="*/ 2046853 h 2789415"/>
                <a:gd name="connsiteX114" fmla="*/ 9983487 w 12011405"/>
                <a:gd name="connsiteY114" fmla="*/ 2061476 h 2789415"/>
                <a:gd name="connsiteX115" fmla="*/ 9327886 w 12011405"/>
                <a:gd name="connsiteY115" fmla="*/ 2040577 h 2789415"/>
                <a:gd name="connsiteX116" fmla="*/ 9256537 w 12011405"/>
                <a:gd name="connsiteY116" fmla="*/ 2023699 h 2789415"/>
                <a:gd name="connsiteX117" fmla="*/ 9258000 w 12011405"/>
                <a:gd name="connsiteY117" fmla="*/ 2017606 h 2789415"/>
                <a:gd name="connsiteX118" fmla="*/ 9329166 w 12011405"/>
                <a:gd name="connsiteY118" fmla="*/ 2034423 h 2789415"/>
                <a:gd name="connsiteX119" fmla="*/ 10126489 w 12011405"/>
                <a:gd name="connsiteY119" fmla="*/ 2028391 h 2789415"/>
                <a:gd name="connsiteX120" fmla="*/ 10124844 w 12011405"/>
                <a:gd name="connsiteY120" fmla="*/ 2022298 h 2789415"/>
                <a:gd name="connsiteX121" fmla="*/ 10194669 w 12011405"/>
                <a:gd name="connsiteY121" fmla="*/ 2000729 h 2789415"/>
                <a:gd name="connsiteX122" fmla="*/ 10196619 w 12011405"/>
                <a:gd name="connsiteY122" fmla="*/ 2006517 h 2789415"/>
                <a:gd name="connsiteX123" fmla="*/ 10126428 w 12011405"/>
                <a:gd name="connsiteY123" fmla="*/ 2028817 h 2789415"/>
                <a:gd name="connsiteX124" fmla="*/ 9185737 w 12011405"/>
                <a:gd name="connsiteY124" fmla="*/ 2004019 h 2789415"/>
                <a:gd name="connsiteX125" fmla="*/ 9115546 w 12011405"/>
                <a:gd name="connsiteY125" fmla="*/ 1982816 h 2789415"/>
                <a:gd name="connsiteX126" fmla="*/ 9117436 w 12011405"/>
                <a:gd name="connsiteY126" fmla="*/ 1976723 h 2789415"/>
                <a:gd name="connsiteX127" fmla="*/ 9187444 w 12011405"/>
                <a:gd name="connsiteY127" fmla="*/ 1997926 h 2789415"/>
                <a:gd name="connsiteX128" fmla="*/ 2281873 w 12011405"/>
                <a:gd name="connsiteY128" fmla="*/ 1987324 h 2789415"/>
                <a:gd name="connsiteX129" fmla="*/ 2236236 w 12011405"/>
                <a:gd name="connsiteY129" fmla="*/ 1930233 h 2789415"/>
                <a:gd name="connsiteX130" fmla="*/ 2240928 w 12011405"/>
                <a:gd name="connsiteY130" fmla="*/ 1926395 h 2789415"/>
                <a:gd name="connsiteX131" fmla="*/ 2286686 w 12011405"/>
                <a:gd name="connsiteY131" fmla="*/ 1983547 h 2789415"/>
                <a:gd name="connsiteX132" fmla="*/ 10265530 w 12011405"/>
                <a:gd name="connsiteY132" fmla="*/ 1981963 h 2789415"/>
                <a:gd name="connsiteX133" fmla="*/ 10263337 w 12011405"/>
                <a:gd name="connsiteY133" fmla="*/ 1976296 h 2789415"/>
                <a:gd name="connsiteX134" fmla="*/ 10330847 w 12011405"/>
                <a:gd name="connsiteY134" fmla="*/ 1948208 h 2789415"/>
                <a:gd name="connsiteX135" fmla="*/ 10333284 w 12011405"/>
                <a:gd name="connsiteY135" fmla="*/ 1953813 h 2789415"/>
                <a:gd name="connsiteX136" fmla="*/ 10265530 w 12011405"/>
                <a:gd name="connsiteY136" fmla="*/ 1981963 h 2789415"/>
                <a:gd name="connsiteX137" fmla="*/ 4712596 w 12011405"/>
                <a:gd name="connsiteY137" fmla="*/ 1973981 h 2789415"/>
                <a:gd name="connsiteX138" fmla="*/ 4708635 w 12011405"/>
                <a:gd name="connsiteY138" fmla="*/ 1969350 h 2789415"/>
                <a:gd name="connsiteX139" fmla="*/ 4764264 w 12011405"/>
                <a:gd name="connsiteY139" fmla="*/ 1921764 h 2789415"/>
                <a:gd name="connsiteX140" fmla="*/ 4768224 w 12011405"/>
                <a:gd name="connsiteY140" fmla="*/ 1926395 h 2789415"/>
                <a:gd name="connsiteX141" fmla="*/ 4712596 w 12011405"/>
                <a:gd name="connsiteY141" fmla="*/ 1973981 h 2789415"/>
                <a:gd name="connsiteX142" fmla="*/ 9045904 w 12011405"/>
                <a:gd name="connsiteY142" fmla="*/ 1960272 h 2789415"/>
                <a:gd name="connsiteX143" fmla="*/ 8976932 w 12011405"/>
                <a:gd name="connsiteY143" fmla="*/ 1935473 h 2789415"/>
                <a:gd name="connsiteX144" fmla="*/ 8979064 w 12011405"/>
                <a:gd name="connsiteY144" fmla="*/ 1929807 h 2789415"/>
                <a:gd name="connsiteX145" fmla="*/ 9047915 w 12011405"/>
                <a:gd name="connsiteY145" fmla="*/ 1954544 h 2789415"/>
                <a:gd name="connsiteX146" fmla="*/ 10399697 w 12011405"/>
                <a:gd name="connsiteY146" fmla="*/ 1922556 h 2789415"/>
                <a:gd name="connsiteX147" fmla="*/ 10396956 w 12011405"/>
                <a:gd name="connsiteY147" fmla="*/ 1917133 h 2789415"/>
                <a:gd name="connsiteX148" fmla="*/ 10461723 w 12011405"/>
                <a:gd name="connsiteY148" fmla="*/ 1883196 h 2789415"/>
                <a:gd name="connsiteX149" fmla="*/ 10464648 w 12011405"/>
                <a:gd name="connsiteY149" fmla="*/ 1888497 h 2789415"/>
                <a:gd name="connsiteX150" fmla="*/ 10399697 w 12011405"/>
                <a:gd name="connsiteY150" fmla="*/ 1922556 h 2789415"/>
                <a:gd name="connsiteX151" fmla="*/ 8908386 w 12011405"/>
                <a:gd name="connsiteY151" fmla="*/ 1909152 h 2789415"/>
                <a:gd name="connsiteX152" fmla="*/ 8840510 w 12011405"/>
                <a:gd name="connsiteY152" fmla="*/ 1881429 h 2789415"/>
                <a:gd name="connsiteX153" fmla="*/ 8842826 w 12011405"/>
                <a:gd name="connsiteY153" fmla="*/ 1875823 h 2789415"/>
                <a:gd name="connsiteX154" fmla="*/ 8910640 w 12011405"/>
                <a:gd name="connsiteY154" fmla="*/ 1903485 h 2789415"/>
                <a:gd name="connsiteX155" fmla="*/ 4823548 w 12011405"/>
                <a:gd name="connsiteY155" fmla="*/ 1878687 h 2789415"/>
                <a:gd name="connsiteX156" fmla="*/ 4819588 w 12011405"/>
                <a:gd name="connsiteY156" fmla="*/ 1874117 h 2789415"/>
                <a:gd name="connsiteX157" fmla="*/ 4874851 w 12011405"/>
                <a:gd name="connsiteY157" fmla="*/ 1825922 h 2789415"/>
                <a:gd name="connsiteX158" fmla="*/ 4878812 w 12011405"/>
                <a:gd name="connsiteY158" fmla="*/ 1830492 h 2789415"/>
                <a:gd name="connsiteX159" fmla="*/ 4823670 w 12011405"/>
                <a:gd name="connsiteY159" fmla="*/ 1878504 h 2789415"/>
                <a:gd name="connsiteX160" fmla="*/ 2189503 w 12011405"/>
                <a:gd name="connsiteY160" fmla="*/ 1873935 h 2789415"/>
                <a:gd name="connsiteX161" fmla="*/ 2141735 w 12011405"/>
                <a:gd name="connsiteY161" fmla="*/ 1818367 h 2789415"/>
                <a:gd name="connsiteX162" fmla="*/ 2146304 w 12011405"/>
                <a:gd name="connsiteY162" fmla="*/ 1814345 h 2789415"/>
                <a:gd name="connsiteX163" fmla="*/ 2194134 w 12011405"/>
                <a:gd name="connsiteY163" fmla="*/ 1869974 h 2789415"/>
                <a:gd name="connsiteX164" fmla="*/ 8773123 w 12011405"/>
                <a:gd name="connsiteY164" fmla="*/ 1852609 h 2789415"/>
                <a:gd name="connsiteX165" fmla="*/ 8706100 w 12011405"/>
                <a:gd name="connsiteY165" fmla="*/ 1822571 h 2789415"/>
                <a:gd name="connsiteX166" fmla="*/ 8708659 w 12011405"/>
                <a:gd name="connsiteY166" fmla="*/ 1817026 h 2789415"/>
                <a:gd name="connsiteX167" fmla="*/ 8775681 w 12011405"/>
                <a:gd name="connsiteY167" fmla="*/ 1847065 h 2789415"/>
                <a:gd name="connsiteX168" fmla="*/ 10527893 w 12011405"/>
                <a:gd name="connsiteY168" fmla="*/ 1852609 h 2789415"/>
                <a:gd name="connsiteX169" fmla="*/ 10524786 w 12011405"/>
                <a:gd name="connsiteY169" fmla="*/ 1847308 h 2789415"/>
                <a:gd name="connsiteX170" fmla="*/ 10587543 w 12011405"/>
                <a:gd name="connsiteY170" fmla="*/ 1809715 h 2789415"/>
                <a:gd name="connsiteX171" fmla="*/ 10590711 w 12011405"/>
                <a:gd name="connsiteY171" fmla="*/ 1814955 h 2789415"/>
                <a:gd name="connsiteX172" fmla="*/ 10528319 w 12011405"/>
                <a:gd name="connsiteY172" fmla="*/ 1852122 h 2789415"/>
                <a:gd name="connsiteX173" fmla="*/ 8640296 w 12011405"/>
                <a:gd name="connsiteY173" fmla="*/ 1791192 h 2789415"/>
                <a:gd name="connsiteX174" fmla="*/ 8574310 w 12011405"/>
                <a:gd name="connsiteY174" fmla="*/ 1759265 h 2789415"/>
                <a:gd name="connsiteX175" fmla="*/ 8576990 w 12011405"/>
                <a:gd name="connsiteY175" fmla="*/ 1753781 h 2789415"/>
                <a:gd name="connsiteX176" fmla="*/ 8642855 w 12011405"/>
                <a:gd name="connsiteY176" fmla="*/ 1785708 h 2789415"/>
                <a:gd name="connsiteX177" fmla="*/ 4934379 w 12011405"/>
                <a:gd name="connsiteY177" fmla="*/ 1782175 h 2789415"/>
                <a:gd name="connsiteX178" fmla="*/ 4930358 w 12011405"/>
                <a:gd name="connsiteY178" fmla="*/ 1777605 h 2789415"/>
                <a:gd name="connsiteX179" fmla="*/ 4985194 w 12011405"/>
                <a:gd name="connsiteY179" fmla="*/ 1729349 h 2789415"/>
                <a:gd name="connsiteX180" fmla="*/ 4989216 w 12011405"/>
                <a:gd name="connsiteY180" fmla="*/ 1733918 h 2789415"/>
                <a:gd name="connsiteX181" fmla="*/ 10653408 w 12011405"/>
                <a:gd name="connsiteY181" fmla="*/ 1775472 h 2789415"/>
                <a:gd name="connsiteX182" fmla="*/ 10650118 w 12011405"/>
                <a:gd name="connsiteY182" fmla="*/ 1770354 h 2789415"/>
                <a:gd name="connsiteX183" fmla="*/ 10711047 w 12011405"/>
                <a:gd name="connsiteY183" fmla="*/ 1730141 h 2789415"/>
                <a:gd name="connsiteX184" fmla="*/ 10714459 w 12011405"/>
                <a:gd name="connsiteY184" fmla="*/ 1735198 h 2789415"/>
                <a:gd name="connsiteX185" fmla="*/ 10653164 w 12011405"/>
                <a:gd name="connsiteY185" fmla="*/ 1775594 h 2789415"/>
                <a:gd name="connsiteX186" fmla="*/ 2092808 w 12011405"/>
                <a:gd name="connsiteY186" fmla="*/ 1763774 h 2789415"/>
                <a:gd name="connsiteX187" fmla="*/ 2041993 w 12011405"/>
                <a:gd name="connsiteY187" fmla="*/ 1711192 h 2789415"/>
                <a:gd name="connsiteX188" fmla="*/ 2046258 w 12011405"/>
                <a:gd name="connsiteY188" fmla="*/ 1706866 h 2789415"/>
                <a:gd name="connsiteX189" fmla="*/ 2097256 w 12011405"/>
                <a:gd name="connsiteY189" fmla="*/ 1759631 h 2789415"/>
                <a:gd name="connsiteX190" fmla="*/ 8508688 w 12011405"/>
                <a:gd name="connsiteY190" fmla="*/ 1726546 h 2789415"/>
                <a:gd name="connsiteX191" fmla="*/ 8443189 w 12011405"/>
                <a:gd name="connsiteY191" fmla="*/ 1693096 h 2789415"/>
                <a:gd name="connsiteX192" fmla="*/ 8445992 w 12011405"/>
                <a:gd name="connsiteY192" fmla="*/ 1687734 h 2789415"/>
                <a:gd name="connsiteX193" fmla="*/ 8511430 w 12011405"/>
                <a:gd name="connsiteY193" fmla="*/ 1721123 h 2789415"/>
                <a:gd name="connsiteX194" fmla="*/ 10774536 w 12011405"/>
                <a:gd name="connsiteY194" fmla="*/ 1693705 h 2789415"/>
                <a:gd name="connsiteX195" fmla="*/ 10771002 w 12011405"/>
                <a:gd name="connsiteY195" fmla="*/ 1688709 h 2789415"/>
                <a:gd name="connsiteX196" fmla="*/ 10829982 w 12011405"/>
                <a:gd name="connsiteY196" fmla="*/ 1645631 h 2789415"/>
                <a:gd name="connsiteX197" fmla="*/ 10833698 w 12011405"/>
                <a:gd name="connsiteY197" fmla="*/ 1650445 h 2789415"/>
                <a:gd name="connsiteX198" fmla="*/ 10774536 w 12011405"/>
                <a:gd name="connsiteY198" fmla="*/ 1693705 h 2789415"/>
                <a:gd name="connsiteX199" fmla="*/ 5044235 w 12011405"/>
                <a:gd name="connsiteY199" fmla="*/ 1685723 h 2789415"/>
                <a:gd name="connsiteX200" fmla="*/ 5040214 w 12011405"/>
                <a:gd name="connsiteY200" fmla="*/ 1681153 h 2789415"/>
                <a:gd name="connsiteX201" fmla="*/ 5095050 w 12011405"/>
                <a:gd name="connsiteY201" fmla="*/ 1632836 h 2789415"/>
                <a:gd name="connsiteX202" fmla="*/ 5099072 w 12011405"/>
                <a:gd name="connsiteY202" fmla="*/ 1637406 h 2789415"/>
                <a:gd name="connsiteX203" fmla="*/ 1989045 w 12011405"/>
                <a:gd name="connsiteY203" fmla="*/ 1660803 h 2789415"/>
                <a:gd name="connsiteX204" fmla="*/ 1933904 w 12011405"/>
                <a:gd name="connsiteY204" fmla="*/ 1612851 h 2789415"/>
                <a:gd name="connsiteX205" fmla="*/ 1938047 w 12011405"/>
                <a:gd name="connsiteY205" fmla="*/ 1608404 h 2789415"/>
                <a:gd name="connsiteX206" fmla="*/ 1993493 w 12011405"/>
                <a:gd name="connsiteY206" fmla="*/ 1656538 h 2789415"/>
                <a:gd name="connsiteX207" fmla="*/ 8377812 w 12011405"/>
                <a:gd name="connsiteY207" fmla="*/ 1659280 h 2789415"/>
                <a:gd name="connsiteX208" fmla="*/ 8312922 w 12011405"/>
                <a:gd name="connsiteY208" fmla="*/ 1624916 h 2789415"/>
                <a:gd name="connsiteX209" fmla="*/ 8315785 w 12011405"/>
                <a:gd name="connsiteY209" fmla="*/ 1619493 h 2789415"/>
                <a:gd name="connsiteX210" fmla="*/ 8380615 w 12011405"/>
                <a:gd name="connsiteY210" fmla="*/ 1653918 h 2789415"/>
                <a:gd name="connsiteX211" fmla="*/ 10891642 w 12011405"/>
                <a:gd name="connsiteY211" fmla="*/ 1605601 h 2789415"/>
                <a:gd name="connsiteX212" fmla="*/ 10887865 w 12011405"/>
                <a:gd name="connsiteY212" fmla="*/ 1600787 h 2789415"/>
                <a:gd name="connsiteX213" fmla="*/ 10944407 w 12011405"/>
                <a:gd name="connsiteY213" fmla="*/ 1554542 h 2789415"/>
                <a:gd name="connsiteX214" fmla="*/ 10948307 w 12011405"/>
                <a:gd name="connsiteY214" fmla="*/ 1559172 h 2789415"/>
                <a:gd name="connsiteX215" fmla="*/ 10891642 w 12011405"/>
                <a:gd name="connsiteY215" fmla="*/ 1605601 h 2789415"/>
                <a:gd name="connsiteX216" fmla="*/ 8248276 w 12011405"/>
                <a:gd name="connsiteY216" fmla="*/ 1590125 h 2789415"/>
                <a:gd name="connsiteX217" fmla="*/ 8183812 w 12011405"/>
                <a:gd name="connsiteY217" fmla="*/ 1555151 h 2789415"/>
                <a:gd name="connsiteX218" fmla="*/ 8186737 w 12011405"/>
                <a:gd name="connsiteY218" fmla="*/ 1549789 h 2789415"/>
                <a:gd name="connsiteX219" fmla="*/ 8251139 w 12011405"/>
                <a:gd name="connsiteY219" fmla="*/ 1584763 h 2789415"/>
                <a:gd name="connsiteX220" fmla="*/ 5154396 w 12011405"/>
                <a:gd name="connsiteY220" fmla="*/ 1589211 h 2789415"/>
                <a:gd name="connsiteX221" fmla="*/ 5150374 w 12011405"/>
                <a:gd name="connsiteY221" fmla="*/ 1584580 h 2789415"/>
                <a:gd name="connsiteX222" fmla="*/ 5205698 w 12011405"/>
                <a:gd name="connsiteY222" fmla="*/ 1536568 h 2789415"/>
                <a:gd name="connsiteX223" fmla="*/ 5209659 w 12011405"/>
                <a:gd name="connsiteY223" fmla="*/ 1541198 h 2789415"/>
                <a:gd name="connsiteX224" fmla="*/ 5154396 w 12011405"/>
                <a:gd name="connsiteY224" fmla="*/ 1589272 h 2789415"/>
                <a:gd name="connsiteX225" fmla="*/ 1876387 w 12011405"/>
                <a:gd name="connsiteY225" fmla="*/ 1568129 h 2789415"/>
                <a:gd name="connsiteX226" fmla="*/ 1815823 w 12011405"/>
                <a:gd name="connsiteY226" fmla="*/ 1527428 h 2789415"/>
                <a:gd name="connsiteX227" fmla="*/ 1819052 w 12011405"/>
                <a:gd name="connsiteY227" fmla="*/ 1522249 h 2789415"/>
                <a:gd name="connsiteX228" fmla="*/ 1879981 w 12011405"/>
                <a:gd name="connsiteY228" fmla="*/ 1563194 h 2789415"/>
                <a:gd name="connsiteX229" fmla="*/ 8119715 w 12011405"/>
                <a:gd name="connsiteY229" fmla="*/ 1520056 h 2789415"/>
                <a:gd name="connsiteX230" fmla="*/ 8055373 w 12011405"/>
                <a:gd name="connsiteY230" fmla="*/ 1484960 h 2789415"/>
                <a:gd name="connsiteX231" fmla="*/ 8058297 w 12011405"/>
                <a:gd name="connsiteY231" fmla="*/ 1479598 h 2789415"/>
                <a:gd name="connsiteX232" fmla="*/ 8122578 w 12011405"/>
                <a:gd name="connsiteY232" fmla="*/ 1514755 h 2789415"/>
                <a:gd name="connsiteX233" fmla="*/ 11003570 w 12011405"/>
                <a:gd name="connsiteY233" fmla="*/ 1510916 h 2789415"/>
                <a:gd name="connsiteX234" fmla="*/ 10999487 w 12011405"/>
                <a:gd name="connsiteY234" fmla="*/ 1506408 h 2789415"/>
                <a:gd name="connsiteX235" fmla="*/ 11053106 w 12011405"/>
                <a:gd name="connsiteY235" fmla="*/ 1456750 h 2789415"/>
                <a:gd name="connsiteX236" fmla="*/ 11057309 w 12011405"/>
                <a:gd name="connsiteY236" fmla="*/ 1461137 h 2789415"/>
                <a:gd name="connsiteX237" fmla="*/ 11003570 w 12011405"/>
                <a:gd name="connsiteY237" fmla="*/ 1510916 h 2789415"/>
                <a:gd name="connsiteX238" fmla="*/ 3473 w 12011405"/>
                <a:gd name="connsiteY238" fmla="*/ 1509393 h 2789415"/>
                <a:gd name="connsiteX239" fmla="*/ 0 w 12011405"/>
                <a:gd name="connsiteY239" fmla="*/ 1504336 h 2789415"/>
                <a:gd name="connsiteX240" fmla="*/ 62027 w 12011405"/>
                <a:gd name="connsiteY240" fmla="*/ 1464915 h 2789415"/>
                <a:gd name="connsiteX241" fmla="*/ 65134 w 12011405"/>
                <a:gd name="connsiteY241" fmla="*/ 1470154 h 2789415"/>
                <a:gd name="connsiteX242" fmla="*/ 3473 w 12011405"/>
                <a:gd name="connsiteY242" fmla="*/ 1509393 h 2789415"/>
                <a:gd name="connsiteX243" fmla="*/ 5265166 w 12011405"/>
                <a:gd name="connsiteY243" fmla="*/ 1493552 h 2789415"/>
                <a:gd name="connsiteX244" fmla="*/ 5261205 w 12011405"/>
                <a:gd name="connsiteY244" fmla="*/ 1488921 h 2789415"/>
                <a:gd name="connsiteX245" fmla="*/ 5317139 w 12011405"/>
                <a:gd name="connsiteY245" fmla="*/ 1441518 h 2789415"/>
                <a:gd name="connsiteX246" fmla="*/ 5321038 w 12011405"/>
                <a:gd name="connsiteY246" fmla="*/ 1446209 h 2789415"/>
                <a:gd name="connsiteX247" fmla="*/ 5265166 w 12011405"/>
                <a:gd name="connsiteY247" fmla="*/ 1493552 h 2789415"/>
                <a:gd name="connsiteX248" fmla="*/ 1752212 w 12011405"/>
                <a:gd name="connsiteY248" fmla="*/ 1491541 h 2789415"/>
                <a:gd name="connsiteX249" fmla="*/ 1698716 w 12011405"/>
                <a:gd name="connsiteY249" fmla="*/ 1466377 h 2789415"/>
                <a:gd name="connsiteX250" fmla="*/ 1686104 w 12011405"/>
                <a:gd name="connsiteY250" fmla="*/ 1461076 h 2789415"/>
                <a:gd name="connsiteX251" fmla="*/ 1688480 w 12011405"/>
                <a:gd name="connsiteY251" fmla="*/ 1455471 h 2789415"/>
                <a:gd name="connsiteX252" fmla="*/ 1701092 w 12011405"/>
                <a:gd name="connsiteY252" fmla="*/ 1460771 h 2789415"/>
                <a:gd name="connsiteX253" fmla="*/ 1755015 w 12011405"/>
                <a:gd name="connsiteY253" fmla="*/ 1486118 h 2789415"/>
                <a:gd name="connsiteX254" fmla="*/ 7991031 w 12011405"/>
                <a:gd name="connsiteY254" fmla="*/ 1449987 h 2789415"/>
                <a:gd name="connsiteX255" fmla="*/ 7926812 w 12011405"/>
                <a:gd name="connsiteY255" fmla="*/ 1415013 h 2789415"/>
                <a:gd name="connsiteX256" fmla="*/ 7929675 w 12011405"/>
                <a:gd name="connsiteY256" fmla="*/ 1409651 h 2789415"/>
                <a:gd name="connsiteX257" fmla="*/ 7993956 w 12011405"/>
                <a:gd name="connsiteY257" fmla="*/ 1444625 h 2789415"/>
                <a:gd name="connsiteX258" fmla="*/ 129049 w 12011405"/>
                <a:gd name="connsiteY258" fmla="*/ 1434754 h 2789415"/>
                <a:gd name="connsiteX259" fmla="*/ 126246 w 12011405"/>
                <a:gd name="connsiteY259" fmla="*/ 1429332 h 2789415"/>
                <a:gd name="connsiteX260" fmla="*/ 192355 w 12011405"/>
                <a:gd name="connsiteY260" fmla="*/ 1397405 h 2789415"/>
                <a:gd name="connsiteX261" fmla="*/ 194853 w 12011405"/>
                <a:gd name="connsiteY261" fmla="*/ 1403010 h 2789415"/>
                <a:gd name="connsiteX262" fmla="*/ 129049 w 12011405"/>
                <a:gd name="connsiteY262" fmla="*/ 1434754 h 2789415"/>
                <a:gd name="connsiteX263" fmla="*/ 1618350 w 12011405"/>
                <a:gd name="connsiteY263" fmla="*/ 1433536 h 2789415"/>
                <a:gd name="connsiteX264" fmla="*/ 1549865 w 12011405"/>
                <a:gd name="connsiteY264" fmla="*/ 1407823 h 2789415"/>
                <a:gd name="connsiteX265" fmla="*/ 1551937 w 12011405"/>
                <a:gd name="connsiteY265" fmla="*/ 1402096 h 2789415"/>
                <a:gd name="connsiteX266" fmla="*/ 1620543 w 12011405"/>
                <a:gd name="connsiteY266" fmla="*/ 1427869 h 2789415"/>
                <a:gd name="connsiteX267" fmla="*/ 11109343 w 12011405"/>
                <a:gd name="connsiteY267" fmla="*/ 1409773 h 2789415"/>
                <a:gd name="connsiteX268" fmla="*/ 11105018 w 12011405"/>
                <a:gd name="connsiteY268" fmla="*/ 1405508 h 2789415"/>
                <a:gd name="connsiteX269" fmla="*/ 11155102 w 12011405"/>
                <a:gd name="connsiteY269" fmla="*/ 1352378 h 2789415"/>
                <a:gd name="connsiteX270" fmla="*/ 11159610 w 12011405"/>
                <a:gd name="connsiteY270" fmla="*/ 1356460 h 2789415"/>
                <a:gd name="connsiteX271" fmla="*/ 11109343 w 12011405"/>
                <a:gd name="connsiteY271" fmla="*/ 1409773 h 2789415"/>
                <a:gd name="connsiteX272" fmla="*/ 5377276 w 12011405"/>
                <a:gd name="connsiteY272" fmla="*/ 1399415 h 2789415"/>
                <a:gd name="connsiteX273" fmla="*/ 5373437 w 12011405"/>
                <a:gd name="connsiteY273" fmla="*/ 1394724 h 2789415"/>
                <a:gd name="connsiteX274" fmla="*/ 5430284 w 12011405"/>
                <a:gd name="connsiteY274" fmla="*/ 1348539 h 2789415"/>
                <a:gd name="connsiteX275" fmla="*/ 5434123 w 12011405"/>
                <a:gd name="connsiteY275" fmla="*/ 1353292 h 2789415"/>
                <a:gd name="connsiteX276" fmla="*/ 5377276 w 12011405"/>
                <a:gd name="connsiteY276" fmla="*/ 1399415 h 2789415"/>
                <a:gd name="connsiteX277" fmla="*/ 1480710 w 12011405"/>
                <a:gd name="connsiteY277" fmla="*/ 1383939 h 2789415"/>
                <a:gd name="connsiteX278" fmla="*/ 1410885 w 12011405"/>
                <a:gd name="connsiteY278" fmla="*/ 1362126 h 2789415"/>
                <a:gd name="connsiteX279" fmla="*/ 1412652 w 12011405"/>
                <a:gd name="connsiteY279" fmla="*/ 1356033 h 2789415"/>
                <a:gd name="connsiteX280" fmla="*/ 1482599 w 12011405"/>
                <a:gd name="connsiteY280" fmla="*/ 1377907 h 2789415"/>
                <a:gd name="connsiteX281" fmla="*/ 7862470 w 12011405"/>
                <a:gd name="connsiteY281" fmla="*/ 1380040 h 2789415"/>
                <a:gd name="connsiteX282" fmla="*/ 7798128 w 12011405"/>
                <a:gd name="connsiteY282" fmla="*/ 1345553 h 2789415"/>
                <a:gd name="connsiteX283" fmla="*/ 7800992 w 12011405"/>
                <a:gd name="connsiteY283" fmla="*/ 1340131 h 2789415"/>
                <a:gd name="connsiteX284" fmla="*/ 7865394 w 12011405"/>
                <a:gd name="connsiteY284" fmla="*/ 1374678 h 2789415"/>
                <a:gd name="connsiteX285" fmla="*/ 262485 w 12011405"/>
                <a:gd name="connsiteY285" fmla="*/ 1374800 h 2789415"/>
                <a:gd name="connsiteX286" fmla="*/ 260291 w 12011405"/>
                <a:gd name="connsiteY286" fmla="*/ 1369072 h 2789415"/>
                <a:gd name="connsiteX287" fmla="*/ 329386 w 12011405"/>
                <a:gd name="connsiteY287" fmla="*/ 1344335 h 2789415"/>
                <a:gd name="connsiteX288" fmla="*/ 331274 w 12011405"/>
                <a:gd name="connsiteY288" fmla="*/ 1350123 h 2789415"/>
                <a:gd name="connsiteX289" fmla="*/ 262485 w 12011405"/>
                <a:gd name="connsiteY289" fmla="*/ 1374800 h 2789415"/>
                <a:gd name="connsiteX290" fmla="*/ 1340938 w 12011405"/>
                <a:gd name="connsiteY290" fmla="*/ 1342324 h 2789415"/>
                <a:gd name="connsiteX291" fmla="*/ 1269955 w 12011405"/>
                <a:gd name="connsiteY291" fmla="*/ 1324777 h 2789415"/>
                <a:gd name="connsiteX292" fmla="*/ 1271295 w 12011405"/>
                <a:gd name="connsiteY292" fmla="*/ 1318684 h 2789415"/>
                <a:gd name="connsiteX293" fmla="*/ 1342522 w 12011405"/>
                <a:gd name="connsiteY293" fmla="*/ 1336231 h 2789415"/>
                <a:gd name="connsiteX294" fmla="*/ 401526 w 12011405"/>
                <a:gd name="connsiteY294" fmla="*/ 1328920 h 2789415"/>
                <a:gd name="connsiteX295" fmla="*/ 399942 w 12011405"/>
                <a:gd name="connsiteY295" fmla="*/ 1322827 h 2789415"/>
                <a:gd name="connsiteX296" fmla="*/ 471108 w 12011405"/>
                <a:gd name="connsiteY296" fmla="*/ 1305035 h 2789415"/>
                <a:gd name="connsiteX297" fmla="*/ 472448 w 12011405"/>
                <a:gd name="connsiteY297" fmla="*/ 1311128 h 2789415"/>
                <a:gd name="connsiteX298" fmla="*/ 401039 w 12011405"/>
                <a:gd name="connsiteY298" fmla="*/ 1328920 h 2789415"/>
                <a:gd name="connsiteX299" fmla="*/ 7733847 w 12011405"/>
                <a:gd name="connsiteY299" fmla="*/ 1311311 h 2789415"/>
                <a:gd name="connsiteX300" fmla="*/ 7668775 w 12011405"/>
                <a:gd name="connsiteY300" fmla="*/ 1277617 h 2789415"/>
                <a:gd name="connsiteX301" fmla="*/ 7671578 w 12011405"/>
                <a:gd name="connsiteY301" fmla="*/ 1272194 h 2789415"/>
                <a:gd name="connsiteX302" fmla="*/ 7736650 w 12011405"/>
                <a:gd name="connsiteY302" fmla="*/ 1305949 h 2789415"/>
                <a:gd name="connsiteX303" fmla="*/ 1197936 w 12011405"/>
                <a:gd name="connsiteY303" fmla="*/ 1309849 h 2789415"/>
                <a:gd name="connsiteX304" fmla="*/ 1125917 w 12011405"/>
                <a:gd name="connsiteY304" fmla="*/ 1297115 h 2789415"/>
                <a:gd name="connsiteX305" fmla="*/ 1126892 w 12011405"/>
                <a:gd name="connsiteY305" fmla="*/ 1291022 h 2789415"/>
                <a:gd name="connsiteX306" fmla="*/ 1199094 w 12011405"/>
                <a:gd name="connsiteY306" fmla="*/ 1303817 h 2789415"/>
                <a:gd name="connsiteX307" fmla="*/ 5491580 w 12011405"/>
                <a:gd name="connsiteY307" fmla="*/ 1308326 h 2789415"/>
                <a:gd name="connsiteX308" fmla="*/ 5487863 w 12011405"/>
                <a:gd name="connsiteY308" fmla="*/ 1303512 h 2789415"/>
                <a:gd name="connsiteX309" fmla="*/ 5546234 w 12011405"/>
                <a:gd name="connsiteY309" fmla="*/ 1259216 h 2789415"/>
                <a:gd name="connsiteX310" fmla="*/ 5549889 w 12011405"/>
                <a:gd name="connsiteY310" fmla="*/ 1264152 h 2789415"/>
                <a:gd name="connsiteX311" fmla="*/ 5491580 w 12011405"/>
                <a:gd name="connsiteY311" fmla="*/ 1308021 h 2789415"/>
                <a:gd name="connsiteX312" fmla="*/ 11207928 w 12011405"/>
                <a:gd name="connsiteY312" fmla="*/ 1301745 h 2789415"/>
                <a:gd name="connsiteX313" fmla="*/ 11203297 w 12011405"/>
                <a:gd name="connsiteY313" fmla="*/ 1297785 h 2789415"/>
                <a:gd name="connsiteX314" fmla="*/ 11249420 w 12011405"/>
                <a:gd name="connsiteY314" fmla="*/ 1241181 h 2789415"/>
                <a:gd name="connsiteX315" fmla="*/ 11254234 w 12011405"/>
                <a:gd name="connsiteY315" fmla="*/ 1244959 h 2789415"/>
                <a:gd name="connsiteX316" fmla="*/ 11207928 w 12011405"/>
                <a:gd name="connsiteY316" fmla="*/ 1301441 h 2789415"/>
                <a:gd name="connsiteX317" fmla="*/ 543675 w 12011405"/>
                <a:gd name="connsiteY317" fmla="*/ 1297236 h 2789415"/>
                <a:gd name="connsiteX318" fmla="*/ 542578 w 12011405"/>
                <a:gd name="connsiteY318" fmla="*/ 1291143 h 2789415"/>
                <a:gd name="connsiteX319" fmla="*/ 615145 w 12011405"/>
                <a:gd name="connsiteY319" fmla="*/ 1280176 h 2789415"/>
                <a:gd name="connsiteX320" fmla="*/ 615937 w 12011405"/>
                <a:gd name="connsiteY320" fmla="*/ 1286269 h 2789415"/>
                <a:gd name="connsiteX321" fmla="*/ 543675 w 12011405"/>
                <a:gd name="connsiteY321" fmla="*/ 1296932 h 2789415"/>
                <a:gd name="connsiteX322" fmla="*/ 1053472 w 12011405"/>
                <a:gd name="connsiteY322" fmla="*/ 1286879 h 2789415"/>
                <a:gd name="connsiteX323" fmla="*/ 980722 w 12011405"/>
                <a:gd name="connsiteY323" fmla="*/ 1279384 h 2789415"/>
                <a:gd name="connsiteX324" fmla="*/ 981271 w 12011405"/>
                <a:gd name="connsiteY324" fmla="*/ 1273291 h 2789415"/>
                <a:gd name="connsiteX325" fmla="*/ 1054386 w 12011405"/>
                <a:gd name="connsiteY325" fmla="*/ 1280786 h 2789415"/>
                <a:gd name="connsiteX326" fmla="*/ 688626 w 12011405"/>
                <a:gd name="connsiteY326" fmla="*/ 1278653 h 2789415"/>
                <a:gd name="connsiteX327" fmla="*/ 688139 w 12011405"/>
                <a:gd name="connsiteY327" fmla="*/ 1272560 h 2789415"/>
                <a:gd name="connsiteX328" fmla="*/ 761254 w 12011405"/>
                <a:gd name="connsiteY328" fmla="*/ 1268173 h 2789415"/>
                <a:gd name="connsiteX329" fmla="*/ 761254 w 12011405"/>
                <a:gd name="connsiteY329" fmla="*/ 1274266 h 2789415"/>
                <a:gd name="connsiteX330" fmla="*/ 688626 w 12011405"/>
                <a:gd name="connsiteY330" fmla="*/ 1278348 h 2789415"/>
                <a:gd name="connsiteX331" fmla="*/ 907972 w 12011405"/>
                <a:gd name="connsiteY331" fmla="*/ 1274693 h 2789415"/>
                <a:gd name="connsiteX332" fmla="*/ 834857 w 12011405"/>
                <a:gd name="connsiteY332" fmla="*/ 1272987 h 2789415"/>
                <a:gd name="connsiteX333" fmla="*/ 834857 w 12011405"/>
                <a:gd name="connsiteY333" fmla="*/ 1266894 h 2789415"/>
                <a:gd name="connsiteX334" fmla="*/ 907972 w 12011405"/>
                <a:gd name="connsiteY334" fmla="*/ 1268660 h 2789415"/>
                <a:gd name="connsiteX335" fmla="*/ 7603154 w 12011405"/>
                <a:gd name="connsiteY335" fmla="*/ 1244837 h 2789415"/>
                <a:gd name="connsiteX336" fmla="*/ 7537472 w 12011405"/>
                <a:gd name="connsiteY336" fmla="*/ 1212423 h 2789415"/>
                <a:gd name="connsiteX337" fmla="*/ 7540152 w 12011405"/>
                <a:gd name="connsiteY337" fmla="*/ 1206939 h 2789415"/>
                <a:gd name="connsiteX338" fmla="*/ 7605895 w 12011405"/>
                <a:gd name="connsiteY338" fmla="*/ 1239353 h 2789415"/>
                <a:gd name="connsiteX339" fmla="*/ 5609052 w 12011405"/>
                <a:gd name="connsiteY339" fmla="*/ 1220892 h 2789415"/>
                <a:gd name="connsiteX340" fmla="*/ 5605518 w 12011405"/>
                <a:gd name="connsiteY340" fmla="*/ 1215956 h 2789415"/>
                <a:gd name="connsiteX341" fmla="*/ 5665960 w 12011405"/>
                <a:gd name="connsiteY341" fmla="*/ 1174463 h 2789415"/>
                <a:gd name="connsiteX342" fmla="*/ 5669311 w 12011405"/>
                <a:gd name="connsiteY342" fmla="*/ 1179521 h 2789415"/>
                <a:gd name="connsiteX343" fmla="*/ 5609052 w 12011405"/>
                <a:gd name="connsiteY343" fmla="*/ 1220892 h 2789415"/>
                <a:gd name="connsiteX344" fmla="*/ 11298347 w 12011405"/>
                <a:gd name="connsiteY344" fmla="*/ 1186162 h 2789415"/>
                <a:gd name="connsiteX345" fmla="*/ 11293472 w 12011405"/>
                <a:gd name="connsiteY345" fmla="*/ 1182628 h 2789415"/>
                <a:gd name="connsiteX346" fmla="*/ 11335331 w 12011405"/>
                <a:gd name="connsiteY346" fmla="*/ 1122734 h 2789415"/>
                <a:gd name="connsiteX347" fmla="*/ 11340388 w 12011405"/>
                <a:gd name="connsiteY347" fmla="*/ 1126146 h 2789415"/>
                <a:gd name="connsiteX348" fmla="*/ 11298347 w 12011405"/>
                <a:gd name="connsiteY348" fmla="*/ 1186162 h 2789415"/>
                <a:gd name="connsiteX349" fmla="*/ 7471180 w 12011405"/>
                <a:gd name="connsiteY349" fmla="*/ 1180556 h 2789415"/>
                <a:gd name="connsiteX350" fmla="*/ 7404706 w 12011405"/>
                <a:gd name="connsiteY350" fmla="*/ 1150092 h 2789415"/>
                <a:gd name="connsiteX351" fmla="*/ 7407204 w 12011405"/>
                <a:gd name="connsiteY351" fmla="*/ 1144547 h 2789415"/>
                <a:gd name="connsiteX352" fmla="*/ 7473801 w 12011405"/>
                <a:gd name="connsiteY352" fmla="*/ 1175012 h 2789415"/>
                <a:gd name="connsiteX353" fmla="*/ 5730789 w 12011405"/>
                <a:gd name="connsiteY353" fmla="*/ 1140038 h 2789415"/>
                <a:gd name="connsiteX354" fmla="*/ 5727560 w 12011405"/>
                <a:gd name="connsiteY354" fmla="*/ 1134859 h 2789415"/>
                <a:gd name="connsiteX355" fmla="*/ 5790561 w 12011405"/>
                <a:gd name="connsiteY355" fmla="*/ 1097388 h 2789415"/>
                <a:gd name="connsiteX356" fmla="*/ 5793547 w 12011405"/>
                <a:gd name="connsiteY356" fmla="*/ 1102688 h 2789415"/>
                <a:gd name="connsiteX357" fmla="*/ 5730789 w 12011405"/>
                <a:gd name="connsiteY357" fmla="*/ 1140038 h 2789415"/>
                <a:gd name="connsiteX358" fmla="*/ 7337683 w 12011405"/>
                <a:gd name="connsiteY358" fmla="*/ 1120541 h 2789415"/>
                <a:gd name="connsiteX359" fmla="*/ 7270113 w 12011405"/>
                <a:gd name="connsiteY359" fmla="*/ 1092330 h 2789415"/>
                <a:gd name="connsiteX360" fmla="*/ 7272367 w 12011405"/>
                <a:gd name="connsiteY360" fmla="*/ 1086664 h 2789415"/>
                <a:gd name="connsiteX361" fmla="*/ 7340060 w 12011405"/>
                <a:gd name="connsiteY361" fmla="*/ 1114935 h 2789415"/>
                <a:gd name="connsiteX362" fmla="*/ 5857766 w 12011405"/>
                <a:gd name="connsiteY362" fmla="*/ 1067837 h 2789415"/>
                <a:gd name="connsiteX363" fmla="*/ 5854963 w 12011405"/>
                <a:gd name="connsiteY363" fmla="*/ 1062414 h 2789415"/>
                <a:gd name="connsiteX364" fmla="*/ 5920828 w 12011405"/>
                <a:gd name="connsiteY364" fmla="*/ 1030426 h 2789415"/>
                <a:gd name="connsiteX365" fmla="*/ 5923387 w 12011405"/>
                <a:gd name="connsiteY365" fmla="*/ 1035970 h 2789415"/>
                <a:gd name="connsiteX366" fmla="*/ 5857766 w 12011405"/>
                <a:gd name="connsiteY366" fmla="*/ 1067837 h 2789415"/>
                <a:gd name="connsiteX367" fmla="*/ 7201993 w 12011405"/>
                <a:gd name="connsiteY367" fmla="*/ 1065582 h 2789415"/>
                <a:gd name="connsiteX368" fmla="*/ 7133265 w 12011405"/>
                <a:gd name="connsiteY368" fmla="*/ 1040479 h 2789415"/>
                <a:gd name="connsiteX369" fmla="*/ 7135276 w 12011405"/>
                <a:gd name="connsiteY369" fmla="*/ 1034752 h 2789415"/>
                <a:gd name="connsiteX370" fmla="*/ 7204126 w 12011405"/>
                <a:gd name="connsiteY370" fmla="*/ 1059916 h 2789415"/>
                <a:gd name="connsiteX371" fmla="*/ 11380236 w 12011405"/>
                <a:gd name="connsiteY371" fmla="*/ 1064668 h 2789415"/>
                <a:gd name="connsiteX372" fmla="*/ 11375057 w 12011405"/>
                <a:gd name="connsiteY372" fmla="*/ 1061439 h 2789415"/>
                <a:gd name="connsiteX373" fmla="*/ 11412712 w 12011405"/>
                <a:gd name="connsiteY373" fmla="*/ 998864 h 2789415"/>
                <a:gd name="connsiteX374" fmla="*/ 11418013 w 12011405"/>
                <a:gd name="connsiteY374" fmla="*/ 1001911 h 2789415"/>
                <a:gd name="connsiteX375" fmla="*/ 11380236 w 12011405"/>
                <a:gd name="connsiteY375" fmla="*/ 1064668 h 2789415"/>
                <a:gd name="connsiteX376" fmla="*/ 7063866 w 12011405"/>
                <a:gd name="connsiteY376" fmla="*/ 1017387 h 2789415"/>
                <a:gd name="connsiteX377" fmla="*/ 6993859 w 12011405"/>
                <a:gd name="connsiteY377" fmla="*/ 996184 h 2789415"/>
                <a:gd name="connsiteX378" fmla="*/ 6995565 w 12011405"/>
                <a:gd name="connsiteY378" fmla="*/ 990091 h 2789415"/>
                <a:gd name="connsiteX379" fmla="*/ 7065755 w 12011405"/>
                <a:gd name="connsiteY379" fmla="*/ 1011355 h 2789415"/>
                <a:gd name="connsiteX380" fmla="*/ 5990471 w 12011405"/>
                <a:gd name="connsiteY380" fmla="*/ 1007273 h 2789415"/>
                <a:gd name="connsiteX381" fmla="*/ 5988277 w 12011405"/>
                <a:gd name="connsiteY381" fmla="*/ 1001606 h 2789415"/>
                <a:gd name="connsiteX382" fmla="*/ 6057067 w 12011405"/>
                <a:gd name="connsiteY382" fmla="*/ 976442 h 2789415"/>
                <a:gd name="connsiteX383" fmla="*/ 6059016 w 12011405"/>
                <a:gd name="connsiteY383" fmla="*/ 982535 h 2789415"/>
                <a:gd name="connsiteX384" fmla="*/ 5990471 w 12011405"/>
                <a:gd name="connsiteY384" fmla="*/ 1007273 h 2789415"/>
                <a:gd name="connsiteX385" fmla="*/ 6923241 w 12011405"/>
                <a:gd name="connsiteY385" fmla="*/ 976808 h 2789415"/>
                <a:gd name="connsiteX386" fmla="*/ 6906242 w 12011405"/>
                <a:gd name="connsiteY386" fmla="*/ 972665 h 2789415"/>
                <a:gd name="connsiteX387" fmla="*/ 6852014 w 12011405"/>
                <a:gd name="connsiteY387" fmla="*/ 960479 h 2789415"/>
                <a:gd name="connsiteX388" fmla="*/ 6853294 w 12011405"/>
                <a:gd name="connsiteY388" fmla="*/ 954386 h 2789415"/>
                <a:gd name="connsiteX389" fmla="*/ 6907704 w 12011405"/>
                <a:gd name="connsiteY389" fmla="*/ 966572 h 2789415"/>
                <a:gd name="connsiteX390" fmla="*/ 6924704 w 12011405"/>
                <a:gd name="connsiteY390" fmla="*/ 970715 h 2789415"/>
                <a:gd name="connsiteX391" fmla="*/ 6128781 w 12011405"/>
                <a:gd name="connsiteY391" fmla="*/ 960783 h 2789415"/>
                <a:gd name="connsiteX392" fmla="*/ 6127196 w 12011405"/>
                <a:gd name="connsiteY392" fmla="*/ 954691 h 2789415"/>
                <a:gd name="connsiteX393" fmla="*/ 6198362 w 12011405"/>
                <a:gd name="connsiteY393" fmla="*/ 937509 h 2789415"/>
                <a:gd name="connsiteX394" fmla="*/ 6199642 w 12011405"/>
                <a:gd name="connsiteY394" fmla="*/ 943601 h 2789415"/>
                <a:gd name="connsiteX395" fmla="*/ 6128781 w 12011405"/>
                <a:gd name="connsiteY395" fmla="*/ 961027 h 2789415"/>
                <a:gd name="connsiteX396" fmla="*/ 6780300 w 12011405"/>
                <a:gd name="connsiteY396" fmla="*/ 945917 h 2789415"/>
                <a:gd name="connsiteX397" fmla="*/ 6708099 w 12011405"/>
                <a:gd name="connsiteY397" fmla="*/ 934096 h 2789415"/>
                <a:gd name="connsiteX398" fmla="*/ 6709013 w 12011405"/>
                <a:gd name="connsiteY398" fmla="*/ 928003 h 2789415"/>
                <a:gd name="connsiteX399" fmla="*/ 6781397 w 12011405"/>
                <a:gd name="connsiteY399" fmla="*/ 939885 h 2789415"/>
                <a:gd name="connsiteX400" fmla="*/ 11453595 w 12011405"/>
                <a:gd name="connsiteY400" fmla="*/ 937691 h 2789415"/>
                <a:gd name="connsiteX401" fmla="*/ 11448233 w 12011405"/>
                <a:gd name="connsiteY401" fmla="*/ 934828 h 2789415"/>
                <a:gd name="connsiteX402" fmla="*/ 11482111 w 12011405"/>
                <a:gd name="connsiteY402" fmla="*/ 870059 h 2789415"/>
                <a:gd name="connsiteX403" fmla="*/ 11487533 w 12011405"/>
                <a:gd name="connsiteY403" fmla="*/ 872801 h 2789415"/>
                <a:gd name="connsiteX404" fmla="*/ 11453778 w 12011405"/>
                <a:gd name="connsiteY404" fmla="*/ 938179 h 2789415"/>
                <a:gd name="connsiteX405" fmla="*/ 6271234 w 12011405"/>
                <a:gd name="connsiteY405" fmla="*/ 930745 h 2789415"/>
                <a:gd name="connsiteX406" fmla="*/ 6270320 w 12011405"/>
                <a:gd name="connsiteY406" fmla="*/ 924652 h 2789415"/>
                <a:gd name="connsiteX407" fmla="*/ 6343009 w 12011405"/>
                <a:gd name="connsiteY407" fmla="*/ 915817 h 2789415"/>
                <a:gd name="connsiteX408" fmla="*/ 6343619 w 12011405"/>
                <a:gd name="connsiteY408" fmla="*/ 921910 h 2789415"/>
                <a:gd name="connsiteX409" fmla="*/ 6271417 w 12011405"/>
                <a:gd name="connsiteY409" fmla="*/ 930989 h 2789415"/>
                <a:gd name="connsiteX410" fmla="*/ 6635410 w 12011405"/>
                <a:gd name="connsiteY410" fmla="*/ 925018 h 2789415"/>
                <a:gd name="connsiteX411" fmla="*/ 6562294 w 12011405"/>
                <a:gd name="connsiteY411" fmla="*/ 918925 h 2789415"/>
                <a:gd name="connsiteX412" fmla="*/ 6562660 w 12011405"/>
                <a:gd name="connsiteY412" fmla="*/ 912832 h 2789415"/>
                <a:gd name="connsiteX413" fmla="*/ 6635776 w 12011405"/>
                <a:gd name="connsiteY413" fmla="*/ 918925 h 2789415"/>
                <a:gd name="connsiteX414" fmla="*/ 6416368 w 12011405"/>
                <a:gd name="connsiteY414" fmla="*/ 917402 h 2789415"/>
                <a:gd name="connsiteX415" fmla="*/ 6416368 w 12011405"/>
                <a:gd name="connsiteY415" fmla="*/ 911309 h 2789415"/>
                <a:gd name="connsiteX416" fmla="*/ 6470596 w 12011405"/>
                <a:gd name="connsiteY416" fmla="*/ 910273 h 2789415"/>
                <a:gd name="connsiteX417" fmla="*/ 6470596 w 12011405"/>
                <a:gd name="connsiteY417" fmla="*/ 910273 h 2789415"/>
                <a:gd name="connsiteX418" fmla="*/ 6489484 w 12011405"/>
                <a:gd name="connsiteY418" fmla="*/ 910273 h 2789415"/>
                <a:gd name="connsiteX419" fmla="*/ 6489484 w 12011405"/>
                <a:gd name="connsiteY419" fmla="*/ 916366 h 2789415"/>
                <a:gd name="connsiteX420" fmla="*/ 6470413 w 12011405"/>
                <a:gd name="connsiteY420" fmla="*/ 916366 h 2789415"/>
                <a:gd name="connsiteX421" fmla="*/ 6416368 w 12011405"/>
                <a:gd name="connsiteY421" fmla="*/ 917402 h 2789415"/>
                <a:gd name="connsiteX422" fmla="*/ 11519948 w 12011405"/>
                <a:gd name="connsiteY422" fmla="*/ 807363 h 2789415"/>
                <a:gd name="connsiteX423" fmla="*/ 11514464 w 12011405"/>
                <a:gd name="connsiteY423" fmla="*/ 804743 h 2789415"/>
                <a:gd name="connsiteX424" fmla="*/ 11545721 w 12011405"/>
                <a:gd name="connsiteY424" fmla="*/ 738573 h 2789415"/>
                <a:gd name="connsiteX425" fmla="*/ 11551205 w 12011405"/>
                <a:gd name="connsiteY425" fmla="*/ 741194 h 2789415"/>
                <a:gd name="connsiteX426" fmla="*/ 11520192 w 12011405"/>
                <a:gd name="connsiteY426" fmla="*/ 807363 h 2789415"/>
                <a:gd name="connsiteX427" fmla="*/ 11581730 w 12011405"/>
                <a:gd name="connsiteY427" fmla="*/ 674597 h 2789415"/>
                <a:gd name="connsiteX428" fmla="*/ 11576185 w 12011405"/>
                <a:gd name="connsiteY428" fmla="*/ 672099 h 2789415"/>
                <a:gd name="connsiteX429" fmla="*/ 11606650 w 12011405"/>
                <a:gd name="connsiteY429" fmla="*/ 605443 h 2789415"/>
                <a:gd name="connsiteX430" fmla="*/ 11612195 w 12011405"/>
                <a:gd name="connsiteY430" fmla="*/ 607940 h 2789415"/>
                <a:gd name="connsiteX431" fmla="*/ 11642660 w 12011405"/>
                <a:gd name="connsiteY431" fmla="*/ 541406 h 2789415"/>
                <a:gd name="connsiteX432" fmla="*/ 11637115 w 12011405"/>
                <a:gd name="connsiteY432" fmla="*/ 538846 h 2789415"/>
                <a:gd name="connsiteX433" fmla="*/ 11668433 w 12011405"/>
                <a:gd name="connsiteY433" fmla="*/ 472677 h 2789415"/>
                <a:gd name="connsiteX434" fmla="*/ 11673917 w 12011405"/>
                <a:gd name="connsiteY434" fmla="*/ 475297 h 2789415"/>
                <a:gd name="connsiteX435" fmla="*/ 11642721 w 12011405"/>
                <a:gd name="connsiteY435" fmla="*/ 541406 h 2789415"/>
                <a:gd name="connsiteX436" fmla="*/ 11706636 w 12011405"/>
                <a:gd name="connsiteY436" fmla="*/ 409798 h 2789415"/>
                <a:gd name="connsiteX437" fmla="*/ 11701213 w 12011405"/>
                <a:gd name="connsiteY437" fmla="*/ 407056 h 2789415"/>
                <a:gd name="connsiteX438" fmla="*/ 11735943 w 12011405"/>
                <a:gd name="connsiteY438" fmla="*/ 342531 h 2789415"/>
                <a:gd name="connsiteX439" fmla="*/ 11741304 w 12011405"/>
                <a:gd name="connsiteY439" fmla="*/ 345517 h 2789415"/>
                <a:gd name="connsiteX440" fmla="*/ 11706697 w 12011405"/>
                <a:gd name="connsiteY440" fmla="*/ 409798 h 2789415"/>
                <a:gd name="connsiteX441" fmla="*/ 11778167 w 12011405"/>
                <a:gd name="connsiteY441" fmla="*/ 282760 h 2789415"/>
                <a:gd name="connsiteX442" fmla="*/ 11772988 w 12011405"/>
                <a:gd name="connsiteY442" fmla="*/ 279530 h 2789415"/>
                <a:gd name="connsiteX443" fmla="*/ 11813202 w 12011405"/>
                <a:gd name="connsiteY443" fmla="*/ 218601 h 2789415"/>
                <a:gd name="connsiteX444" fmla="*/ 11818197 w 12011405"/>
                <a:gd name="connsiteY444" fmla="*/ 222074 h 2789415"/>
                <a:gd name="connsiteX445" fmla="*/ 11778167 w 12011405"/>
                <a:gd name="connsiteY445" fmla="*/ 282760 h 2789415"/>
                <a:gd name="connsiteX446" fmla="*/ 11861458 w 12011405"/>
                <a:gd name="connsiteY446" fmla="*/ 163155 h 2789415"/>
                <a:gd name="connsiteX447" fmla="*/ 11856705 w 12011405"/>
                <a:gd name="connsiteY447" fmla="*/ 159377 h 2789415"/>
                <a:gd name="connsiteX448" fmla="*/ 11903560 w 12011405"/>
                <a:gd name="connsiteY448" fmla="*/ 103078 h 2789415"/>
                <a:gd name="connsiteX449" fmla="*/ 11908129 w 12011405"/>
                <a:gd name="connsiteY449" fmla="*/ 107161 h 2789415"/>
                <a:gd name="connsiteX450" fmla="*/ 11861701 w 12011405"/>
                <a:gd name="connsiteY450" fmla="*/ 163155 h 2789415"/>
                <a:gd name="connsiteX451" fmla="*/ 11958153 w 12011405"/>
                <a:gd name="connsiteY451" fmla="*/ 54152 h 2789415"/>
                <a:gd name="connsiteX452" fmla="*/ 11953827 w 12011405"/>
                <a:gd name="connsiteY452" fmla="*/ 49826 h 2789415"/>
                <a:gd name="connsiteX453" fmla="*/ 12007384 w 12011405"/>
                <a:gd name="connsiteY453" fmla="*/ -197 h 2789415"/>
                <a:gd name="connsiteX454" fmla="*/ 12011405 w 12011405"/>
                <a:gd name="connsiteY454" fmla="*/ 4372 h 2789415"/>
                <a:gd name="connsiteX455" fmla="*/ 11958396 w 12011405"/>
                <a:gd name="connsiteY455" fmla="*/ 54152 h 278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Lst>
              <a:rect l="l" t="t" r="r" b="b"/>
              <a:pathLst>
                <a:path w="12011405" h="2789415">
                  <a:moveTo>
                    <a:pt x="3350638" y="2789218"/>
                  </a:moveTo>
                  <a:lnTo>
                    <a:pt x="3350333" y="2783125"/>
                  </a:lnTo>
                  <a:cubicBezTo>
                    <a:pt x="3374217" y="2782028"/>
                    <a:pt x="3398589" y="2779835"/>
                    <a:pt x="3422961" y="2776484"/>
                  </a:cubicBezTo>
                  <a:lnTo>
                    <a:pt x="3423814" y="2782577"/>
                  </a:lnTo>
                  <a:cubicBezTo>
                    <a:pt x="3399259" y="2785928"/>
                    <a:pt x="3374644" y="2788182"/>
                    <a:pt x="3350638" y="2789218"/>
                  </a:cubicBezTo>
                  <a:close/>
                  <a:moveTo>
                    <a:pt x="3277096" y="2789218"/>
                  </a:moveTo>
                  <a:cubicBezTo>
                    <a:pt x="3252608" y="2787860"/>
                    <a:pt x="3228206" y="2785258"/>
                    <a:pt x="3203980" y="2781419"/>
                  </a:cubicBezTo>
                  <a:lnTo>
                    <a:pt x="3204955" y="2775326"/>
                  </a:lnTo>
                  <a:cubicBezTo>
                    <a:pt x="3228894" y="2779140"/>
                    <a:pt x="3253016" y="2781718"/>
                    <a:pt x="3277217" y="2783064"/>
                  </a:cubicBezTo>
                  <a:close/>
                  <a:moveTo>
                    <a:pt x="3496077" y="2769904"/>
                  </a:moveTo>
                  <a:lnTo>
                    <a:pt x="3494797" y="2763811"/>
                  </a:lnTo>
                  <a:cubicBezTo>
                    <a:pt x="3517950" y="2758692"/>
                    <a:pt x="3541713" y="2752478"/>
                    <a:pt x="3565414" y="2745532"/>
                  </a:cubicBezTo>
                  <a:lnTo>
                    <a:pt x="3567120" y="2751625"/>
                  </a:lnTo>
                  <a:cubicBezTo>
                    <a:pt x="3543358" y="2758144"/>
                    <a:pt x="3519412" y="2764420"/>
                    <a:pt x="3496077" y="2769599"/>
                  </a:cubicBezTo>
                  <a:close/>
                  <a:moveTo>
                    <a:pt x="3132571" y="2766065"/>
                  </a:moveTo>
                  <a:cubicBezTo>
                    <a:pt x="3108967" y="2759698"/>
                    <a:pt x="3085704" y="2752130"/>
                    <a:pt x="3062867" y="2743399"/>
                  </a:cubicBezTo>
                  <a:lnTo>
                    <a:pt x="3065000" y="2737672"/>
                  </a:lnTo>
                  <a:cubicBezTo>
                    <a:pt x="3087660" y="2746275"/>
                    <a:pt x="3110740" y="2753715"/>
                    <a:pt x="3134155" y="2759972"/>
                  </a:cubicBezTo>
                  <a:close/>
                  <a:moveTo>
                    <a:pt x="3636702" y="2727923"/>
                  </a:moveTo>
                  <a:lnTo>
                    <a:pt x="3634630" y="2722257"/>
                  </a:lnTo>
                  <a:cubicBezTo>
                    <a:pt x="3656809" y="2713970"/>
                    <a:pt x="3679596" y="2704770"/>
                    <a:pt x="3702323" y="2694838"/>
                  </a:cubicBezTo>
                  <a:lnTo>
                    <a:pt x="3704760" y="2700444"/>
                  </a:lnTo>
                  <a:cubicBezTo>
                    <a:pt x="3681972" y="2710132"/>
                    <a:pt x="3659063" y="2719332"/>
                    <a:pt x="3636702" y="2727618"/>
                  </a:cubicBezTo>
                  <a:close/>
                  <a:moveTo>
                    <a:pt x="2995723" y="2713970"/>
                  </a:moveTo>
                  <a:cubicBezTo>
                    <a:pt x="2974337" y="2703429"/>
                    <a:pt x="2952707" y="2691548"/>
                    <a:pt x="2931442" y="2678692"/>
                  </a:cubicBezTo>
                  <a:lnTo>
                    <a:pt x="2934611" y="2673452"/>
                  </a:lnTo>
                  <a:cubicBezTo>
                    <a:pt x="2955692" y="2686247"/>
                    <a:pt x="2977261" y="2697824"/>
                    <a:pt x="2998404" y="2708547"/>
                  </a:cubicBezTo>
                  <a:close/>
                  <a:moveTo>
                    <a:pt x="3771295" y="2669370"/>
                  </a:moveTo>
                  <a:lnTo>
                    <a:pt x="3768553" y="2663947"/>
                  </a:lnTo>
                  <a:cubicBezTo>
                    <a:pt x="3789879" y="2653345"/>
                    <a:pt x="3811630" y="2641951"/>
                    <a:pt x="3833321" y="2629948"/>
                  </a:cubicBezTo>
                  <a:lnTo>
                    <a:pt x="3836246" y="2635310"/>
                  </a:lnTo>
                  <a:cubicBezTo>
                    <a:pt x="3814677" y="2647009"/>
                    <a:pt x="3792681" y="2658464"/>
                    <a:pt x="3771295" y="2669065"/>
                  </a:cubicBezTo>
                  <a:close/>
                  <a:moveTo>
                    <a:pt x="2870269" y="2638113"/>
                  </a:moveTo>
                  <a:cubicBezTo>
                    <a:pt x="2850954" y="2624404"/>
                    <a:pt x="2831335" y="2609415"/>
                    <a:pt x="2811899" y="2593634"/>
                  </a:cubicBezTo>
                  <a:lnTo>
                    <a:pt x="2815737" y="2588882"/>
                  </a:lnTo>
                  <a:cubicBezTo>
                    <a:pt x="2835052" y="2604602"/>
                    <a:pt x="2854610" y="2619346"/>
                    <a:pt x="2873803" y="2633178"/>
                  </a:cubicBezTo>
                  <a:close/>
                  <a:moveTo>
                    <a:pt x="3899978" y="2598448"/>
                  </a:moveTo>
                  <a:lnTo>
                    <a:pt x="3896871" y="2593208"/>
                  </a:lnTo>
                  <a:cubicBezTo>
                    <a:pt x="3917282" y="2581022"/>
                    <a:pt x="3938120" y="2567861"/>
                    <a:pt x="3958836" y="2554396"/>
                  </a:cubicBezTo>
                  <a:lnTo>
                    <a:pt x="3962187" y="2559514"/>
                  </a:lnTo>
                  <a:cubicBezTo>
                    <a:pt x="3941167" y="2572918"/>
                    <a:pt x="3920268" y="2586018"/>
                    <a:pt x="3899978" y="2598326"/>
                  </a:cubicBezTo>
                  <a:close/>
                  <a:moveTo>
                    <a:pt x="2756514" y="2545744"/>
                  </a:moveTo>
                  <a:cubicBezTo>
                    <a:pt x="2739027" y="2529902"/>
                    <a:pt x="2721175" y="2512903"/>
                    <a:pt x="2703322" y="2495172"/>
                  </a:cubicBezTo>
                  <a:lnTo>
                    <a:pt x="2707587" y="2490846"/>
                  </a:lnTo>
                  <a:cubicBezTo>
                    <a:pt x="2725379" y="2508516"/>
                    <a:pt x="2743231" y="2525454"/>
                    <a:pt x="2760596" y="2541235"/>
                  </a:cubicBezTo>
                  <a:close/>
                  <a:moveTo>
                    <a:pt x="4023056" y="2518691"/>
                  </a:moveTo>
                  <a:lnTo>
                    <a:pt x="4019583" y="2513634"/>
                  </a:lnTo>
                  <a:cubicBezTo>
                    <a:pt x="4039263" y="2500047"/>
                    <a:pt x="4059248" y="2485728"/>
                    <a:pt x="4079111" y="2470983"/>
                  </a:cubicBezTo>
                  <a:lnTo>
                    <a:pt x="4082706" y="2475918"/>
                  </a:lnTo>
                  <a:cubicBezTo>
                    <a:pt x="4062599" y="2490602"/>
                    <a:pt x="4042493" y="2504921"/>
                    <a:pt x="4022812" y="2518569"/>
                  </a:cubicBezTo>
                  <a:close/>
                  <a:moveTo>
                    <a:pt x="2652141" y="2442468"/>
                  </a:moveTo>
                  <a:cubicBezTo>
                    <a:pt x="2636117" y="2425286"/>
                    <a:pt x="2619544" y="2407007"/>
                    <a:pt x="2602849" y="2388119"/>
                  </a:cubicBezTo>
                  <a:lnTo>
                    <a:pt x="2607419" y="2384098"/>
                  </a:lnTo>
                  <a:cubicBezTo>
                    <a:pt x="2624053" y="2402925"/>
                    <a:pt x="2640565" y="2421204"/>
                    <a:pt x="2656589" y="2438325"/>
                  </a:cubicBezTo>
                  <a:close/>
                  <a:moveTo>
                    <a:pt x="4141442" y="2432415"/>
                  </a:moveTo>
                  <a:lnTo>
                    <a:pt x="4137786" y="2427540"/>
                  </a:lnTo>
                  <a:cubicBezTo>
                    <a:pt x="4157528" y="2412796"/>
                    <a:pt x="4177006" y="2398111"/>
                    <a:pt x="4196218" y="2383488"/>
                  </a:cubicBezTo>
                  <a:lnTo>
                    <a:pt x="4199934" y="2388302"/>
                  </a:lnTo>
                  <a:cubicBezTo>
                    <a:pt x="4180601" y="2402925"/>
                    <a:pt x="4161061" y="2417591"/>
                    <a:pt x="4141320" y="2432293"/>
                  </a:cubicBezTo>
                  <a:close/>
                  <a:moveTo>
                    <a:pt x="4258122" y="2343823"/>
                  </a:moveTo>
                  <a:lnTo>
                    <a:pt x="4254405" y="2339010"/>
                  </a:lnTo>
                  <a:cubicBezTo>
                    <a:pt x="4273903" y="2323942"/>
                    <a:pt x="4293175" y="2308971"/>
                    <a:pt x="4312227" y="2294105"/>
                  </a:cubicBezTo>
                  <a:lnTo>
                    <a:pt x="4315944" y="2298857"/>
                  </a:lnTo>
                  <a:cubicBezTo>
                    <a:pt x="4296812" y="2313803"/>
                    <a:pt x="4277498" y="2328755"/>
                    <a:pt x="4258000" y="2343701"/>
                  </a:cubicBezTo>
                  <a:close/>
                  <a:moveTo>
                    <a:pt x="2555020" y="2332429"/>
                  </a:moveTo>
                  <a:cubicBezTo>
                    <a:pt x="2539970" y="2314516"/>
                    <a:pt x="2524555" y="2295872"/>
                    <a:pt x="2508348" y="2275887"/>
                  </a:cubicBezTo>
                  <a:lnTo>
                    <a:pt x="2513100" y="2272048"/>
                  </a:lnTo>
                  <a:cubicBezTo>
                    <a:pt x="2529429" y="2292155"/>
                    <a:pt x="2544662" y="2310678"/>
                    <a:pt x="2559711" y="2328530"/>
                  </a:cubicBezTo>
                  <a:close/>
                  <a:moveTo>
                    <a:pt x="4373401" y="2253465"/>
                  </a:moveTo>
                  <a:lnTo>
                    <a:pt x="4369623" y="2248651"/>
                  </a:lnTo>
                  <a:cubicBezTo>
                    <a:pt x="4388938" y="2233358"/>
                    <a:pt x="4407948" y="2218187"/>
                    <a:pt x="4426836" y="2202954"/>
                  </a:cubicBezTo>
                  <a:lnTo>
                    <a:pt x="4430614" y="2207707"/>
                  </a:lnTo>
                  <a:cubicBezTo>
                    <a:pt x="4411805" y="2222897"/>
                    <a:pt x="4392734" y="2238153"/>
                    <a:pt x="4373401" y="2253465"/>
                  </a:cubicBezTo>
                  <a:close/>
                  <a:moveTo>
                    <a:pt x="2462407" y="2218491"/>
                  </a:moveTo>
                  <a:cubicBezTo>
                    <a:pt x="2447296" y="2199359"/>
                    <a:pt x="2432204" y="2180124"/>
                    <a:pt x="2417136" y="2160791"/>
                  </a:cubicBezTo>
                  <a:lnTo>
                    <a:pt x="2421950" y="2157074"/>
                  </a:lnTo>
                  <a:cubicBezTo>
                    <a:pt x="2436981" y="2176328"/>
                    <a:pt x="2452067" y="2195539"/>
                    <a:pt x="2467220" y="2214714"/>
                  </a:cubicBezTo>
                  <a:close/>
                  <a:moveTo>
                    <a:pt x="4487583" y="2161644"/>
                  </a:moveTo>
                  <a:lnTo>
                    <a:pt x="4483744" y="2156952"/>
                  </a:lnTo>
                  <a:cubicBezTo>
                    <a:pt x="4502833" y="2141354"/>
                    <a:pt x="4521703" y="2125878"/>
                    <a:pt x="4540348" y="2110524"/>
                  </a:cubicBezTo>
                  <a:lnTo>
                    <a:pt x="4544247" y="2115216"/>
                  </a:lnTo>
                  <a:cubicBezTo>
                    <a:pt x="4525542" y="2130631"/>
                    <a:pt x="4506715" y="2146107"/>
                    <a:pt x="4487583" y="2161644"/>
                  </a:cubicBezTo>
                  <a:close/>
                  <a:moveTo>
                    <a:pt x="2372109" y="2102786"/>
                  </a:moveTo>
                  <a:cubicBezTo>
                    <a:pt x="2357121" y="2083490"/>
                    <a:pt x="2342114" y="2064199"/>
                    <a:pt x="2327082" y="2044903"/>
                  </a:cubicBezTo>
                  <a:lnTo>
                    <a:pt x="2331896" y="2041186"/>
                  </a:lnTo>
                  <a:cubicBezTo>
                    <a:pt x="2346964" y="2060440"/>
                    <a:pt x="2361977" y="2079736"/>
                    <a:pt x="2376923" y="2099069"/>
                  </a:cubicBezTo>
                  <a:close/>
                  <a:moveTo>
                    <a:pt x="9716555" y="2084812"/>
                  </a:moveTo>
                  <a:lnTo>
                    <a:pt x="9691391" y="2084812"/>
                  </a:lnTo>
                  <a:lnTo>
                    <a:pt x="9691391" y="2078719"/>
                  </a:lnTo>
                  <a:cubicBezTo>
                    <a:pt x="9715763" y="2079084"/>
                    <a:pt x="9740135" y="2078719"/>
                    <a:pt x="9764507" y="2078170"/>
                  </a:cubicBezTo>
                  <a:lnTo>
                    <a:pt x="9764507" y="2084263"/>
                  </a:lnTo>
                  <a:cubicBezTo>
                    <a:pt x="9748787" y="2084568"/>
                    <a:pt x="9732580" y="2084812"/>
                    <a:pt x="9716555" y="2084812"/>
                  </a:cubicBezTo>
                  <a:close/>
                  <a:moveTo>
                    <a:pt x="9618093" y="2081826"/>
                  </a:moveTo>
                  <a:cubicBezTo>
                    <a:pt x="9593721" y="2080364"/>
                    <a:pt x="9569349" y="2078353"/>
                    <a:pt x="9544978" y="2075733"/>
                  </a:cubicBezTo>
                  <a:lnTo>
                    <a:pt x="9545587" y="2069640"/>
                  </a:lnTo>
                  <a:cubicBezTo>
                    <a:pt x="9569959" y="2072138"/>
                    <a:pt x="9594330" y="2074149"/>
                    <a:pt x="9618702" y="2075733"/>
                  </a:cubicBezTo>
                  <a:close/>
                  <a:moveTo>
                    <a:pt x="9838049" y="2080059"/>
                  </a:moveTo>
                  <a:lnTo>
                    <a:pt x="9837561" y="2073966"/>
                  </a:lnTo>
                  <a:cubicBezTo>
                    <a:pt x="9861933" y="2072017"/>
                    <a:pt x="9886305" y="2069518"/>
                    <a:pt x="9910251" y="2066472"/>
                  </a:cubicBezTo>
                  <a:lnTo>
                    <a:pt x="9910982" y="2072565"/>
                  </a:lnTo>
                  <a:cubicBezTo>
                    <a:pt x="9886853" y="2075672"/>
                    <a:pt x="9862359" y="2078170"/>
                    <a:pt x="9838049" y="2080059"/>
                  </a:cubicBezTo>
                  <a:close/>
                  <a:moveTo>
                    <a:pt x="4600668" y="2068422"/>
                  </a:moveTo>
                  <a:lnTo>
                    <a:pt x="4596768" y="2063791"/>
                  </a:lnTo>
                  <a:cubicBezTo>
                    <a:pt x="4615657" y="2047949"/>
                    <a:pt x="4634344" y="2032248"/>
                    <a:pt x="4652824" y="2016693"/>
                  </a:cubicBezTo>
                  <a:lnTo>
                    <a:pt x="4656784" y="2021384"/>
                  </a:lnTo>
                  <a:cubicBezTo>
                    <a:pt x="4638200" y="2036921"/>
                    <a:pt x="4619556" y="2052641"/>
                    <a:pt x="4600668" y="2068422"/>
                  </a:cubicBezTo>
                  <a:close/>
                  <a:moveTo>
                    <a:pt x="9472289" y="2066837"/>
                  </a:moveTo>
                  <a:cubicBezTo>
                    <a:pt x="9448343" y="2063425"/>
                    <a:pt x="9423972" y="2059404"/>
                    <a:pt x="9399783" y="2055017"/>
                  </a:cubicBezTo>
                  <a:lnTo>
                    <a:pt x="9400879" y="2048924"/>
                  </a:lnTo>
                  <a:cubicBezTo>
                    <a:pt x="9425251" y="2053311"/>
                    <a:pt x="9449623" y="2057271"/>
                    <a:pt x="9473141" y="2060683"/>
                  </a:cubicBezTo>
                  <a:close/>
                  <a:moveTo>
                    <a:pt x="9983548" y="2061476"/>
                  </a:moveTo>
                  <a:lnTo>
                    <a:pt x="9982513" y="2055383"/>
                  </a:lnTo>
                  <a:cubicBezTo>
                    <a:pt x="10006336" y="2051117"/>
                    <a:pt x="10030464" y="2046182"/>
                    <a:pt x="10054044" y="2040760"/>
                  </a:cubicBezTo>
                  <a:lnTo>
                    <a:pt x="10055445" y="2046853"/>
                  </a:lnTo>
                  <a:cubicBezTo>
                    <a:pt x="10031622" y="2052275"/>
                    <a:pt x="10007494" y="2057210"/>
                    <a:pt x="9983487" y="2061476"/>
                  </a:cubicBezTo>
                  <a:close/>
                  <a:moveTo>
                    <a:pt x="9327886" y="2040577"/>
                  </a:moveTo>
                  <a:cubicBezTo>
                    <a:pt x="9304428" y="2035459"/>
                    <a:pt x="9280422" y="2029732"/>
                    <a:pt x="9256537" y="2023699"/>
                  </a:cubicBezTo>
                  <a:lnTo>
                    <a:pt x="9258000" y="2017606"/>
                  </a:lnTo>
                  <a:cubicBezTo>
                    <a:pt x="9281823" y="2023699"/>
                    <a:pt x="9305768" y="2029305"/>
                    <a:pt x="9329166" y="2034423"/>
                  </a:cubicBezTo>
                  <a:close/>
                  <a:moveTo>
                    <a:pt x="10126489" y="2028391"/>
                  </a:moveTo>
                  <a:lnTo>
                    <a:pt x="10124844" y="2022298"/>
                  </a:lnTo>
                  <a:cubicBezTo>
                    <a:pt x="10148058" y="2015717"/>
                    <a:pt x="10171577" y="2008467"/>
                    <a:pt x="10194669" y="2000729"/>
                  </a:cubicBezTo>
                  <a:lnTo>
                    <a:pt x="10196619" y="2006517"/>
                  </a:lnTo>
                  <a:cubicBezTo>
                    <a:pt x="10173344" y="2014743"/>
                    <a:pt x="10149764" y="2022054"/>
                    <a:pt x="10126428" y="2028817"/>
                  </a:cubicBezTo>
                  <a:close/>
                  <a:moveTo>
                    <a:pt x="9185737" y="2004019"/>
                  </a:moveTo>
                  <a:cubicBezTo>
                    <a:pt x="9162828" y="1997439"/>
                    <a:pt x="9139248" y="1990310"/>
                    <a:pt x="9115546" y="1982816"/>
                  </a:cubicBezTo>
                  <a:lnTo>
                    <a:pt x="9117436" y="1976723"/>
                  </a:lnTo>
                  <a:cubicBezTo>
                    <a:pt x="9141015" y="1984217"/>
                    <a:pt x="9164595" y="1991346"/>
                    <a:pt x="9187444" y="1997926"/>
                  </a:cubicBezTo>
                  <a:close/>
                  <a:moveTo>
                    <a:pt x="2281873" y="1987324"/>
                  </a:moveTo>
                  <a:cubicBezTo>
                    <a:pt x="2265482" y="1966608"/>
                    <a:pt x="2250555" y="1947903"/>
                    <a:pt x="2236236" y="1930233"/>
                  </a:cubicBezTo>
                  <a:lnTo>
                    <a:pt x="2240928" y="1926395"/>
                  </a:lnTo>
                  <a:cubicBezTo>
                    <a:pt x="2255307" y="1944125"/>
                    <a:pt x="2270235" y="1962953"/>
                    <a:pt x="2286686" y="1983547"/>
                  </a:cubicBezTo>
                  <a:close/>
                  <a:moveTo>
                    <a:pt x="10265530" y="1981963"/>
                  </a:moveTo>
                  <a:lnTo>
                    <a:pt x="10263337" y="1976296"/>
                  </a:lnTo>
                  <a:cubicBezTo>
                    <a:pt x="10285820" y="1967522"/>
                    <a:pt x="10308547" y="1958017"/>
                    <a:pt x="10330847" y="1948208"/>
                  </a:cubicBezTo>
                  <a:lnTo>
                    <a:pt x="10333284" y="1953813"/>
                  </a:lnTo>
                  <a:cubicBezTo>
                    <a:pt x="10310923" y="1963684"/>
                    <a:pt x="10288135" y="1973189"/>
                    <a:pt x="10265530" y="1981963"/>
                  </a:cubicBezTo>
                  <a:close/>
                  <a:moveTo>
                    <a:pt x="4712596" y="1973981"/>
                  </a:moveTo>
                  <a:lnTo>
                    <a:pt x="4708635" y="1969350"/>
                  </a:lnTo>
                  <a:cubicBezTo>
                    <a:pt x="4727401" y="1953387"/>
                    <a:pt x="4745942" y="1937527"/>
                    <a:pt x="4764264" y="1921764"/>
                  </a:cubicBezTo>
                  <a:lnTo>
                    <a:pt x="4768224" y="1926395"/>
                  </a:lnTo>
                  <a:cubicBezTo>
                    <a:pt x="4749945" y="1942115"/>
                    <a:pt x="4731404" y="1957975"/>
                    <a:pt x="4712596" y="1973981"/>
                  </a:cubicBezTo>
                  <a:close/>
                  <a:moveTo>
                    <a:pt x="9045904" y="1960272"/>
                  </a:moveTo>
                  <a:cubicBezTo>
                    <a:pt x="9023360" y="1952473"/>
                    <a:pt x="9000146" y="1944125"/>
                    <a:pt x="8976932" y="1935473"/>
                  </a:cubicBezTo>
                  <a:lnTo>
                    <a:pt x="8979064" y="1929807"/>
                  </a:lnTo>
                  <a:cubicBezTo>
                    <a:pt x="9002218" y="1938398"/>
                    <a:pt x="9025370" y="1946746"/>
                    <a:pt x="9047915" y="1954544"/>
                  </a:cubicBezTo>
                  <a:close/>
                  <a:moveTo>
                    <a:pt x="10399697" y="1922556"/>
                  </a:moveTo>
                  <a:lnTo>
                    <a:pt x="10396956" y="1917133"/>
                  </a:lnTo>
                  <a:cubicBezTo>
                    <a:pt x="10418524" y="1906410"/>
                    <a:pt x="10440277" y="1895016"/>
                    <a:pt x="10461723" y="1883196"/>
                  </a:cubicBezTo>
                  <a:lnTo>
                    <a:pt x="10464648" y="1888497"/>
                  </a:lnTo>
                  <a:cubicBezTo>
                    <a:pt x="10443140" y="1900378"/>
                    <a:pt x="10421328" y="1911833"/>
                    <a:pt x="10399697" y="1922556"/>
                  </a:cubicBezTo>
                  <a:close/>
                  <a:moveTo>
                    <a:pt x="8908386" y="1909152"/>
                  </a:moveTo>
                  <a:cubicBezTo>
                    <a:pt x="8886086" y="1900317"/>
                    <a:pt x="8863237" y="1890873"/>
                    <a:pt x="8840510" y="1881429"/>
                  </a:cubicBezTo>
                  <a:lnTo>
                    <a:pt x="8842826" y="1875823"/>
                  </a:lnTo>
                  <a:cubicBezTo>
                    <a:pt x="8865552" y="1885328"/>
                    <a:pt x="8888401" y="1894650"/>
                    <a:pt x="8910640" y="1903485"/>
                  </a:cubicBezTo>
                  <a:close/>
                  <a:moveTo>
                    <a:pt x="4823548" y="1878687"/>
                  </a:moveTo>
                  <a:lnTo>
                    <a:pt x="4819588" y="1874117"/>
                  </a:lnTo>
                  <a:lnTo>
                    <a:pt x="4874851" y="1825922"/>
                  </a:lnTo>
                  <a:lnTo>
                    <a:pt x="4878812" y="1830492"/>
                  </a:lnTo>
                  <a:cubicBezTo>
                    <a:pt x="4860733" y="1846333"/>
                    <a:pt x="4842357" y="1862340"/>
                    <a:pt x="4823670" y="1878504"/>
                  </a:cubicBezTo>
                  <a:close/>
                  <a:moveTo>
                    <a:pt x="2189503" y="1873935"/>
                  </a:moveTo>
                  <a:cubicBezTo>
                    <a:pt x="2173113" y="1854437"/>
                    <a:pt x="2157028" y="1835732"/>
                    <a:pt x="2141735" y="1818367"/>
                  </a:cubicBezTo>
                  <a:lnTo>
                    <a:pt x="2146304" y="1814345"/>
                  </a:lnTo>
                  <a:cubicBezTo>
                    <a:pt x="2161659" y="1831771"/>
                    <a:pt x="2177744" y="1850477"/>
                    <a:pt x="2194134" y="1869974"/>
                  </a:cubicBezTo>
                  <a:close/>
                  <a:moveTo>
                    <a:pt x="8773123" y="1852609"/>
                  </a:moveTo>
                  <a:cubicBezTo>
                    <a:pt x="8751126" y="1842921"/>
                    <a:pt x="8728644" y="1832807"/>
                    <a:pt x="8706100" y="1822571"/>
                  </a:cubicBezTo>
                  <a:lnTo>
                    <a:pt x="8708659" y="1817026"/>
                  </a:lnTo>
                  <a:cubicBezTo>
                    <a:pt x="8730959" y="1827262"/>
                    <a:pt x="8753442" y="1837377"/>
                    <a:pt x="8775681" y="1847065"/>
                  </a:cubicBezTo>
                  <a:close/>
                  <a:moveTo>
                    <a:pt x="10527893" y="1852609"/>
                  </a:moveTo>
                  <a:lnTo>
                    <a:pt x="10524786" y="1847308"/>
                  </a:lnTo>
                  <a:cubicBezTo>
                    <a:pt x="10545928" y="1835123"/>
                    <a:pt x="10567071" y="1822327"/>
                    <a:pt x="10587543" y="1809715"/>
                  </a:cubicBezTo>
                  <a:lnTo>
                    <a:pt x="10590711" y="1814955"/>
                  </a:lnTo>
                  <a:cubicBezTo>
                    <a:pt x="10570605" y="1827080"/>
                    <a:pt x="10549462" y="1839936"/>
                    <a:pt x="10528319" y="1852122"/>
                  </a:cubicBezTo>
                  <a:close/>
                  <a:moveTo>
                    <a:pt x="8640296" y="1791192"/>
                  </a:moveTo>
                  <a:cubicBezTo>
                    <a:pt x="8618727" y="1780956"/>
                    <a:pt x="8596548" y="1770171"/>
                    <a:pt x="8574310" y="1759265"/>
                  </a:cubicBezTo>
                  <a:lnTo>
                    <a:pt x="8576990" y="1753781"/>
                  </a:lnTo>
                  <a:cubicBezTo>
                    <a:pt x="8599230" y="1764688"/>
                    <a:pt x="8621408" y="1775411"/>
                    <a:pt x="8642855" y="1785708"/>
                  </a:cubicBezTo>
                  <a:close/>
                  <a:moveTo>
                    <a:pt x="4934379" y="1782175"/>
                  </a:moveTo>
                  <a:lnTo>
                    <a:pt x="4930358" y="1777605"/>
                  </a:lnTo>
                  <a:lnTo>
                    <a:pt x="4985194" y="1729349"/>
                  </a:lnTo>
                  <a:lnTo>
                    <a:pt x="4989216" y="1733918"/>
                  </a:lnTo>
                  <a:close/>
                  <a:moveTo>
                    <a:pt x="10653408" y="1775472"/>
                  </a:moveTo>
                  <a:lnTo>
                    <a:pt x="10650118" y="1770354"/>
                  </a:lnTo>
                  <a:cubicBezTo>
                    <a:pt x="10670834" y="1757072"/>
                    <a:pt x="10691367" y="1743484"/>
                    <a:pt x="10711047" y="1730141"/>
                  </a:cubicBezTo>
                  <a:lnTo>
                    <a:pt x="10714459" y="1735198"/>
                  </a:lnTo>
                  <a:cubicBezTo>
                    <a:pt x="10694474" y="1748542"/>
                    <a:pt x="10673880" y="1762251"/>
                    <a:pt x="10653164" y="1775594"/>
                  </a:cubicBezTo>
                  <a:close/>
                  <a:moveTo>
                    <a:pt x="2092808" y="1763774"/>
                  </a:moveTo>
                  <a:cubicBezTo>
                    <a:pt x="2075687" y="1745495"/>
                    <a:pt x="2058566" y="1727765"/>
                    <a:pt x="2041993" y="1711192"/>
                  </a:cubicBezTo>
                  <a:lnTo>
                    <a:pt x="2046258" y="1706866"/>
                  </a:lnTo>
                  <a:cubicBezTo>
                    <a:pt x="2062953" y="1723500"/>
                    <a:pt x="2080074" y="1741230"/>
                    <a:pt x="2097256" y="1759631"/>
                  </a:cubicBezTo>
                  <a:close/>
                  <a:moveTo>
                    <a:pt x="8508688" y="1726546"/>
                  </a:moveTo>
                  <a:cubicBezTo>
                    <a:pt x="8486815" y="1715536"/>
                    <a:pt x="8465002" y="1704386"/>
                    <a:pt x="8443189" y="1693096"/>
                  </a:cubicBezTo>
                  <a:lnTo>
                    <a:pt x="8445992" y="1687734"/>
                  </a:lnTo>
                  <a:cubicBezTo>
                    <a:pt x="8467804" y="1698945"/>
                    <a:pt x="8489617" y="1710077"/>
                    <a:pt x="8511430" y="1721123"/>
                  </a:cubicBezTo>
                  <a:close/>
                  <a:moveTo>
                    <a:pt x="10774536" y="1693705"/>
                  </a:moveTo>
                  <a:lnTo>
                    <a:pt x="10771002" y="1688709"/>
                  </a:lnTo>
                  <a:cubicBezTo>
                    <a:pt x="10790987" y="1674512"/>
                    <a:pt x="10810789" y="1660011"/>
                    <a:pt x="10829982" y="1645631"/>
                  </a:cubicBezTo>
                  <a:lnTo>
                    <a:pt x="10833698" y="1650445"/>
                  </a:lnTo>
                  <a:cubicBezTo>
                    <a:pt x="10814444" y="1664824"/>
                    <a:pt x="10794521" y="1679326"/>
                    <a:pt x="10774536" y="1693705"/>
                  </a:cubicBezTo>
                  <a:close/>
                  <a:moveTo>
                    <a:pt x="5044235" y="1685723"/>
                  </a:moveTo>
                  <a:lnTo>
                    <a:pt x="5040214" y="1681153"/>
                  </a:lnTo>
                  <a:lnTo>
                    <a:pt x="5095050" y="1632836"/>
                  </a:lnTo>
                  <a:lnTo>
                    <a:pt x="5099072" y="1637406"/>
                  </a:lnTo>
                  <a:close/>
                  <a:moveTo>
                    <a:pt x="1989045" y="1660803"/>
                  </a:moveTo>
                  <a:cubicBezTo>
                    <a:pt x="1970766" y="1643987"/>
                    <a:pt x="1952061" y="1627840"/>
                    <a:pt x="1933904" y="1612851"/>
                  </a:cubicBezTo>
                  <a:lnTo>
                    <a:pt x="1938047" y="1608404"/>
                  </a:lnTo>
                  <a:cubicBezTo>
                    <a:pt x="1956326" y="1623453"/>
                    <a:pt x="1974970" y="1639660"/>
                    <a:pt x="1993493" y="1656538"/>
                  </a:cubicBezTo>
                  <a:close/>
                  <a:moveTo>
                    <a:pt x="8377812" y="1659280"/>
                  </a:moveTo>
                  <a:cubicBezTo>
                    <a:pt x="8356182" y="1647904"/>
                    <a:pt x="8334551" y="1636450"/>
                    <a:pt x="8312922" y="1624916"/>
                  </a:cubicBezTo>
                  <a:lnTo>
                    <a:pt x="8315785" y="1619493"/>
                  </a:lnTo>
                  <a:cubicBezTo>
                    <a:pt x="8337416" y="1631069"/>
                    <a:pt x="8359045" y="1642543"/>
                    <a:pt x="8380615" y="1653918"/>
                  </a:cubicBezTo>
                  <a:close/>
                  <a:moveTo>
                    <a:pt x="10891642" y="1605601"/>
                  </a:moveTo>
                  <a:lnTo>
                    <a:pt x="10887865" y="1600787"/>
                  </a:lnTo>
                  <a:cubicBezTo>
                    <a:pt x="10907058" y="1585555"/>
                    <a:pt x="10926068" y="1569957"/>
                    <a:pt x="10944407" y="1554542"/>
                  </a:cubicBezTo>
                  <a:lnTo>
                    <a:pt x="10948307" y="1559172"/>
                  </a:lnTo>
                  <a:cubicBezTo>
                    <a:pt x="10929967" y="1574649"/>
                    <a:pt x="10910896" y="1590125"/>
                    <a:pt x="10891642" y="1605601"/>
                  </a:cubicBezTo>
                  <a:close/>
                  <a:moveTo>
                    <a:pt x="8248276" y="1590125"/>
                  </a:moveTo>
                  <a:cubicBezTo>
                    <a:pt x="8226768" y="1578469"/>
                    <a:pt x="8205320" y="1566807"/>
                    <a:pt x="8183812" y="1555151"/>
                  </a:cubicBezTo>
                  <a:lnTo>
                    <a:pt x="8186737" y="1549789"/>
                  </a:lnTo>
                  <a:lnTo>
                    <a:pt x="8251139" y="1584763"/>
                  </a:lnTo>
                  <a:close/>
                  <a:moveTo>
                    <a:pt x="5154396" y="1589211"/>
                  </a:moveTo>
                  <a:lnTo>
                    <a:pt x="5150374" y="1584580"/>
                  </a:lnTo>
                  <a:lnTo>
                    <a:pt x="5205698" y="1536568"/>
                  </a:lnTo>
                  <a:lnTo>
                    <a:pt x="5209659" y="1541198"/>
                  </a:lnTo>
                  <a:cubicBezTo>
                    <a:pt x="5191459" y="1557040"/>
                    <a:pt x="5173040" y="1573065"/>
                    <a:pt x="5154396" y="1589272"/>
                  </a:cubicBezTo>
                  <a:close/>
                  <a:moveTo>
                    <a:pt x="1876387" y="1568129"/>
                  </a:moveTo>
                  <a:cubicBezTo>
                    <a:pt x="1856280" y="1553628"/>
                    <a:pt x="1835929" y="1539919"/>
                    <a:pt x="1815823" y="1527428"/>
                  </a:cubicBezTo>
                  <a:lnTo>
                    <a:pt x="1819052" y="1522249"/>
                  </a:lnTo>
                  <a:cubicBezTo>
                    <a:pt x="1839280" y="1534801"/>
                    <a:pt x="1859753" y="1548571"/>
                    <a:pt x="1879981" y="1563194"/>
                  </a:cubicBezTo>
                  <a:close/>
                  <a:moveTo>
                    <a:pt x="8119715" y="1520056"/>
                  </a:moveTo>
                  <a:lnTo>
                    <a:pt x="8055373" y="1484960"/>
                  </a:lnTo>
                  <a:lnTo>
                    <a:pt x="8058297" y="1479598"/>
                  </a:lnTo>
                  <a:lnTo>
                    <a:pt x="8122578" y="1514755"/>
                  </a:lnTo>
                  <a:close/>
                  <a:moveTo>
                    <a:pt x="11003570" y="1510916"/>
                  </a:moveTo>
                  <a:lnTo>
                    <a:pt x="10999487" y="1506408"/>
                  </a:lnTo>
                  <a:cubicBezTo>
                    <a:pt x="11017766" y="1490079"/>
                    <a:pt x="11036045" y="1473384"/>
                    <a:pt x="11053106" y="1456750"/>
                  </a:cubicBezTo>
                  <a:lnTo>
                    <a:pt x="11057309" y="1461137"/>
                  </a:lnTo>
                  <a:cubicBezTo>
                    <a:pt x="11039884" y="1478014"/>
                    <a:pt x="11021788" y="1494770"/>
                    <a:pt x="11003570" y="1510916"/>
                  </a:cubicBezTo>
                  <a:close/>
                  <a:moveTo>
                    <a:pt x="3473" y="1509393"/>
                  </a:moveTo>
                  <a:lnTo>
                    <a:pt x="0" y="1504336"/>
                  </a:lnTo>
                  <a:cubicBezTo>
                    <a:pt x="19681" y="1490931"/>
                    <a:pt x="40519" y="1477649"/>
                    <a:pt x="62027" y="1464915"/>
                  </a:cubicBezTo>
                  <a:lnTo>
                    <a:pt x="65134" y="1470154"/>
                  </a:lnTo>
                  <a:cubicBezTo>
                    <a:pt x="43748" y="1482828"/>
                    <a:pt x="23032" y="1496050"/>
                    <a:pt x="3473" y="1509393"/>
                  </a:cubicBezTo>
                  <a:close/>
                  <a:moveTo>
                    <a:pt x="5265166" y="1493552"/>
                  </a:moveTo>
                  <a:lnTo>
                    <a:pt x="5261205" y="1488921"/>
                  </a:lnTo>
                  <a:cubicBezTo>
                    <a:pt x="5280051" y="1472671"/>
                    <a:pt x="5298695" y="1456872"/>
                    <a:pt x="5317139" y="1441518"/>
                  </a:cubicBezTo>
                  <a:lnTo>
                    <a:pt x="5321038" y="1446209"/>
                  </a:lnTo>
                  <a:cubicBezTo>
                    <a:pt x="5302595" y="1461685"/>
                    <a:pt x="5283974" y="1477466"/>
                    <a:pt x="5265166" y="1493552"/>
                  </a:cubicBezTo>
                  <a:close/>
                  <a:moveTo>
                    <a:pt x="1752212" y="1491541"/>
                  </a:moveTo>
                  <a:cubicBezTo>
                    <a:pt x="1734543" y="1482462"/>
                    <a:pt x="1716568" y="1473993"/>
                    <a:pt x="1698716" y="1466377"/>
                  </a:cubicBezTo>
                  <a:lnTo>
                    <a:pt x="1686104" y="1461076"/>
                  </a:lnTo>
                  <a:lnTo>
                    <a:pt x="1688480" y="1455471"/>
                  </a:lnTo>
                  <a:lnTo>
                    <a:pt x="1701092" y="1460771"/>
                  </a:lnTo>
                  <a:cubicBezTo>
                    <a:pt x="1719066" y="1468449"/>
                    <a:pt x="1737223" y="1476979"/>
                    <a:pt x="1755015" y="1486118"/>
                  </a:cubicBezTo>
                  <a:close/>
                  <a:moveTo>
                    <a:pt x="7991031" y="1449987"/>
                  </a:moveTo>
                  <a:cubicBezTo>
                    <a:pt x="7969584" y="1438288"/>
                    <a:pt x="7948198" y="1426632"/>
                    <a:pt x="7926812" y="1415013"/>
                  </a:cubicBezTo>
                  <a:lnTo>
                    <a:pt x="7929675" y="1409651"/>
                  </a:lnTo>
                  <a:lnTo>
                    <a:pt x="7993956" y="1444625"/>
                  </a:lnTo>
                  <a:close/>
                  <a:moveTo>
                    <a:pt x="129049" y="1434754"/>
                  </a:moveTo>
                  <a:lnTo>
                    <a:pt x="126246" y="1429332"/>
                  </a:lnTo>
                  <a:cubicBezTo>
                    <a:pt x="147755" y="1418182"/>
                    <a:pt x="169994" y="1407458"/>
                    <a:pt x="192355" y="1397405"/>
                  </a:cubicBezTo>
                  <a:lnTo>
                    <a:pt x="194853" y="1403010"/>
                  </a:lnTo>
                  <a:cubicBezTo>
                    <a:pt x="172614" y="1413003"/>
                    <a:pt x="150496" y="1423665"/>
                    <a:pt x="129049" y="1434754"/>
                  </a:cubicBezTo>
                  <a:close/>
                  <a:moveTo>
                    <a:pt x="1618350" y="1433536"/>
                  </a:moveTo>
                  <a:cubicBezTo>
                    <a:pt x="1595623" y="1424640"/>
                    <a:pt x="1572531" y="1415988"/>
                    <a:pt x="1549865" y="1407823"/>
                  </a:cubicBezTo>
                  <a:lnTo>
                    <a:pt x="1551937" y="1402096"/>
                  </a:lnTo>
                  <a:cubicBezTo>
                    <a:pt x="1574663" y="1410261"/>
                    <a:pt x="1597756" y="1418974"/>
                    <a:pt x="1620543" y="1427869"/>
                  </a:cubicBezTo>
                  <a:close/>
                  <a:moveTo>
                    <a:pt x="11109343" y="1409773"/>
                  </a:moveTo>
                  <a:lnTo>
                    <a:pt x="11105018" y="1405508"/>
                  </a:lnTo>
                  <a:cubicBezTo>
                    <a:pt x="11122017" y="1388082"/>
                    <a:pt x="11138894" y="1370169"/>
                    <a:pt x="11155102" y="1352378"/>
                  </a:cubicBezTo>
                  <a:lnTo>
                    <a:pt x="11159610" y="1356460"/>
                  </a:lnTo>
                  <a:cubicBezTo>
                    <a:pt x="11143343" y="1374312"/>
                    <a:pt x="11126221" y="1392287"/>
                    <a:pt x="11109343" y="1409773"/>
                  </a:cubicBezTo>
                  <a:close/>
                  <a:moveTo>
                    <a:pt x="5377276" y="1399415"/>
                  </a:moveTo>
                  <a:lnTo>
                    <a:pt x="5373437" y="1394724"/>
                  </a:lnTo>
                  <a:cubicBezTo>
                    <a:pt x="5392874" y="1378760"/>
                    <a:pt x="5412006" y="1363223"/>
                    <a:pt x="5430284" y="1348539"/>
                  </a:cubicBezTo>
                  <a:lnTo>
                    <a:pt x="5434123" y="1353292"/>
                  </a:lnTo>
                  <a:cubicBezTo>
                    <a:pt x="5415844" y="1367915"/>
                    <a:pt x="5396713" y="1383452"/>
                    <a:pt x="5377276" y="1399415"/>
                  </a:cubicBezTo>
                  <a:close/>
                  <a:moveTo>
                    <a:pt x="1480710" y="1383939"/>
                  </a:moveTo>
                  <a:cubicBezTo>
                    <a:pt x="1457496" y="1376323"/>
                    <a:pt x="1434038" y="1368951"/>
                    <a:pt x="1410885" y="1362126"/>
                  </a:cubicBezTo>
                  <a:lnTo>
                    <a:pt x="1412652" y="1356033"/>
                  </a:lnTo>
                  <a:cubicBezTo>
                    <a:pt x="1435805" y="1362918"/>
                    <a:pt x="1459385" y="1370291"/>
                    <a:pt x="1482599" y="1377907"/>
                  </a:cubicBezTo>
                  <a:close/>
                  <a:moveTo>
                    <a:pt x="7862470" y="1380040"/>
                  </a:moveTo>
                  <a:cubicBezTo>
                    <a:pt x="7841022" y="1368463"/>
                    <a:pt x="7819576" y="1356966"/>
                    <a:pt x="7798128" y="1345553"/>
                  </a:cubicBezTo>
                  <a:lnTo>
                    <a:pt x="7800992" y="1340131"/>
                  </a:lnTo>
                  <a:lnTo>
                    <a:pt x="7865394" y="1374678"/>
                  </a:lnTo>
                  <a:close/>
                  <a:moveTo>
                    <a:pt x="262485" y="1374800"/>
                  </a:moveTo>
                  <a:lnTo>
                    <a:pt x="260291" y="1369072"/>
                  </a:lnTo>
                  <a:cubicBezTo>
                    <a:pt x="282835" y="1360360"/>
                    <a:pt x="306110" y="1352012"/>
                    <a:pt x="329386" y="1344335"/>
                  </a:cubicBezTo>
                  <a:lnTo>
                    <a:pt x="331274" y="1350123"/>
                  </a:lnTo>
                  <a:cubicBezTo>
                    <a:pt x="307938" y="1357739"/>
                    <a:pt x="284785" y="1366087"/>
                    <a:pt x="262485" y="1374800"/>
                  </a:cubicBezTo>
                  <a:close/>
                  <a:moveTo>
                    <a:pt x="1340938" y="1342324"/>
                  </a:moveTo>
                  <a:cubicBezTo>
                    <a:pt x="1317297" y="1336231"/>
                    <a:pt x="1293413" y="1330138"/>
                    <a:pt x="1269955" y="1324777"/>
                  </a:cubicBezTo>
                  <a:lnTo>
                    <a:pt x="1271295" y="1318684"/>
                  </a:lnTo>
                  <a:cubicBezTo>
                    <a:pt x="1294814" y="1324045"/>
                    <a:pt x="1318820" y="1330017"/>
                    <a:pt x="1342522" y="1336231"/>
                  </a:cubicBezTo>
                  <a:close/>
                  <a:moveTo>
                    <a:pt x="401526" y="1328920"/>
                  </a:moveTo>
                  <a:lnTo>
                    <a:pt x="399942" y="1322827"/>
                  </a:lnTo>
                  <a:cubicBezTo>
                    <a:pt x="423278" y="1316368"/>
                    <a:pt x="447223" y="1310641"/>
                    <a:pt x="471108" y="1305035"/>
                  </a:cubicBezTo>
                  <a:lnTo>
                    <a:pt x="472448" y="1311128"/>
                  </a:lnTo>
                  <a:cubicBezTo>
                    <a:pt x="448198" y="1316551"/>
                    <a:pt x="424314" y="1322522"/>
                    <a:pt x="401039" y="1328920"/>
                  </a:cubicBezTo>
                  <a:close/>
                  <a:moveTo>
                    <a:pt x="7733847" y="1311311"/>
                  </a:moveTo>
                  <a:cubicBezTo>
                    <a:pt x="7712096" y="1299978"/>
                    <a:pt x="7690466" y="1288706"/>
                    <a:pt x="7668775" y="1277617"/>
                  </a:cubicBezTo>
                  <a:lnTo>
                    <a:pt x="7671578" y="1272194"/>
                  </a:lnTo>
                  <a:cubicBezTo>
                    <a:pt x="7693268" y="1283326"/>
                    <a:pt x="7714959" y="1294574"/>
                    <a:pt x="7736650" y="1305949"/>
                  </a:cubicBezTo>
                  <a:close/>
                  <a:moveTo>
                    <a:pt x="1197936" y="1309849"/>
                  </a:moveTo>
                  <a:cubicBezTo>
                    <a:pt x="1173930" y="1305157"/>
                    <a:pt x="1149680" y="1300892"/>
                    <a:pt x="1125917" y="1297115"/>
                  </a:cubicBezTo>
                  <a:lnTo>
                    <a:pt x="1126892" y="1291022"/>
                  </a:lnTo>
                  <a:cubicBezTo>
                    <a:pt x="1150716" y="1294799"/>
                    <a:pt x="1175027" y="1299125"/>
                    <a:pt x="1199094" y="1303817"/>
                  </a:cubicBezTo>
                  <a:close/>
                  <a:moveTo>
                    <a:pt x="5491580" y="1308326"/>
                  </a:moveTo>
                  <a:lnTo>
                    <a:pt x="5487863" y="1303512"/>
                  </a:lnTo>
                  <a:cubicBezTo>
                    <a:pt x="5507787" y="1288097"/>
                    <a:pt x="5527406" y="1273047"/>
                    <a:pt x="5546234" y="1259216"/>
                  </a:cubicBezTo>
                  <a:lnTo>
                    <a:pt x="5549889" y="1264152"/>
                  </a:lnTo>
                  <a:cubicBezTo>
                    <a:pt x="5531062" y="1277800"/>
                    <a:pt x="5511443" y="1292667"/>
                    <a:pt x="5491580" y="1308021"/>
                  </a:cubicBezTo>
                  <a:close/>
                  <a:moveTo>
                    <a:pt x="11207928" y="1301745"/>
                  </a:moveTo>
                  <a:lnTo>
                    <a:pt x="11203297" y="1297785"/>
                  </a:lnTo>
                  <a:cubicBezTo>
                    <a:pt x="11218895" y="1279506"/>
                    <a:pt x="11234432" y="1260252"/>
                    <a:pt x="11249420" y="1241181"/>
                  </a:cubicBezTo>
                  <a:lnTo>
                    <a:pt x="11254234" y="1244959"/>
                  </a:lnTo>
                  <a:cubicBezTo>
                    <a:pt x="11239185" y="1263786"/>
                    <a:pt x="11223708" y="1282857"/>
                    <a:pt x="11207928" y="1301441"/>
                  </a:cubicBezTo>
                  <a:close/>
                  <a:moveTo>
                    <a:pt x="543675" y="1297236"/>
                  </a:moveTo>
                  <a:lnTo>
                    <a:pt x="542578" y="1291143"/>
                  </a:lnTo>
                  <a:cubicBezTo>
                    <a:pt x="566401" y="1287000"/>
                    <a:pt x="590834" y="1283284"/>
                    <a:pt x="615145" y="1280176"/>
                  </a:cubicBezTo>
                  <a:lnTo>
                    <a:pt x="615937" y="1286269"/>
                  </a:lnTo>
                  <a:cubicBezTo>
                    <a:pt x="591504" y="1289072"/>
                    <a:pt x="567133" y="1292728"/>
                    <a:pt x="543675" y="1296932"/>
                  </a:cubicBezTo>
                  <a:close/>
                  <a:moveTo>
                    <a:pt x="1053472" y="1286879"/>
                  </a:moveTo>
                  <a:cubicBezTo>
                    <a:pt x="1029100" y="1283954"/>
                    <a:pt x="1004729" y="1281395"/>
                    <a:pt x="980722" y="1279384"/>
                  </a:cubicBezTo>
                  <a:lnTo>
                    <a:pt x="981271" y="1273291"/>
                  </a:lnTo>
                  <a:cubicBezTo>
                    <a:pt x="1005338" y="1275302"/>
                    <a:pt x="1030014" y="1277800"/>
                    <a:pt x="1054386" y="1280786"/>
                  </a:cubicBezTo>
                  <a:close/>
                  <a:moveTo>
                    <a:pt x="688626" y="1278653"/>
                  </a:moveTo>
                  <a:lnTo>
                    <a:pt x="688139" y="1272560"/>
                  </a:lnTo>
                  <a:cubicBezTo>
                    <a:pt x="712510" y="1270610"/>
                    <a:pt x="736882" y="1269087"/>
                    <a:pt x="761254" y="1268173"/>
                  </a:cubicBezTo>
                  <a:lnTo>
                    <a:pt x="761254" y="1274266"/>
                  </a:lnTo>
                  <a:cubicBezTo>
                    <a:pt x="737187" y="1274875"/>
                    <a:pt x="712632" y="1276338"/>
                    <a:pt x="688626" y="1278348"/>
                  </a:cubicBezTo>
                  <a:close/>
                  <a:moveTo>
                    <a:pt x="907972" y="1274693"/>
                  </a:moveTo>
                  <a:cubicBezTo>
                    <a:pt x="883601" y="1273657"/>
                    <a:pt x="859229" y="1273047"/>
                    <a:pt x="834857" y="1272987"/>
                  </a:cubicBezTo>
                  <a:lnTo>
                    <a:pt x="834857" y="1266894"/>
                  </a:lnTo>
                  <a:cubicBezTo>
                    <a:pt x="859229" y="1266894"/>
                    <a:pt x="883601" y="1267564"/>
                    <a:pt x="907972" y="1268660"/>
                  </a:cubicBezTo>
                  <a:close/>
                  <a:moveTo>
                    <a:pt x="7603154" y="1244837"/>
                  </a:moveTo>
                  <a:cubicBezTo>
                    <a:pt x="7580731" y="1233626"/>
                    <a:pt x="7558614" y="1222720"/>
                    <a:pt x="7537472" y="1212423"/>
                  </a:cubicBezTo>
                  <a:lnTo>
                    <a:pt x="7540152" y="1206939"/>
                  </a:lnTo>
                  <a:cubicBezTo>
                    <a:pt x="7561295" y="1217236"/>
                    <a:pt x="7583413" y="1228142"/>
                    <a:pt x="7605895" y="1239353"/>
                  </a:cubicBezTo>
                  <a:close/>
                  <a:moveTo>
                    <a:pt x="5609052" y="1220892"/>
                  </a:moveTo>
                  <a:lnTo>
                    <a:pt x="5605518" y="1215956"/>
                  </a:lnTo>
                  <a:cubicBezTo>
                    <a:pt x="5625868" y="1201577"/>
                    <a:pt x="5646219" y="1187624"/>
                    <a:pt x="5665960" y="1174463"/>
                  </a:cubicBezTo>
                  <a:lnTo>
                    <a:pt x="5669311" y="1179521"/>
                  </a:lnTo>
                  <a:cubicBezTo>
                    <a:pt x="5649631" y="1192621"/>
                    <a:pt x="5629341" y="1206573"/>
                    <a:pt x="5609052" y="1220892"/>
                  </a:cubicBezTo>
                  <a:close/>
                  <a:moveTo>
                    <a:pt x="11298347" y="1186162"/>
                  </a:moveTo>
                  <a:lnTo>
                    <a:pt x="11293472" y="1182628"/>
                  </a:lnTo>
                  <a:cubicBezTo>
                    <a:pt x="11307669" y="1163009"/>
                    <a:pt x="11321805" y="1142902"/>
                    <a:pt x="11335331" y="1122734"/>
                  </a:cubicBezTo>
                  <a:lnTo>
                    <a:pt x="11340388" y="1126146"/>
                  </a:lnTo>
                  <a:cubicBezTo>
                    <a:pt x="11326801" y="1146375"/>
                    <a:pt x="11312665" y="1166543"/>
                    <a:pt x="11298347" y="1186162"/>
                  </a:cubicBezTo>
                  <a:close/>
                  <a:moveTo>
                    <a:pt x="7471180" y="1180556"/>
                  </a:moveTo>
                  <a:cubicBezTo>
                    <a:pt x="7448758" y="1170016"/>
                    <a:pt x="7426397" y="1159718"/>
                    <a:pt x="7404706" y="1150092"/>
                  </a:cubicBezTo>
                  <a:lnTo>
                    <a:pt x="7407204" y="1144547"/>
                  </a:lnTo>
                  <a:cubicBezTo>
                    <a:pt x="7428896" y="1154357"/>
                    <a:pt x="7451317" y="1164654"/>
                    <a:pt x="7473801" y="1175012"/>
                  </a:cubicBezTo>
                  <a:close/>
                  <a:moveTo>
                    <a:pt x="5730789" y="1140038"/>
                  </a:moveTo>
                  <a:lnTo>
                    <a:pt x="5727560" y="1134859"/>
                  </a:lnTo>
                  <a:cubicBezTo>
                    <a:pt x="5748641" y="1121759"/>
                    <a:pt x="5769845" y="1109147"/>
                    <a:pt x="5790561" y="1097388"/>
                  </a:cubicBezTo>
                  <a:lnTo>
                    <a:pt x="5793547" y="1102688"/>
                  </a:lnTo>
                  <a:cubicBezTo>
                    <a:pt x="5772891" y="1114387"/>
                    <a:pt x="5751810" y="1127060"/>
                    <a:pt x="5730789" y="1140038"/>
                  </a:cubicBezTo>
                  <a:close/>
                  <a:moveTo>
                    <a:pt x="7337683" y="1120541"/>
                  </a:moveTo>
                  <a:cubicBezTo>
                    <a:pt x="7314957" y="1110792"/>
                    <a:pt x="7292230" y="1101287"/>
                    <a:pt x="7270113" y="1092330"/>
                  </a:cubicBezTo>
                  <a:lnTo>
                    <a:pt x="7272367" y="1086664"/>
                  </a:lnTo>
                  <a:cubicBezTo>
                    <a:pt x="7294546" y="1095682"/>
                    <a:pt x="7317333" y="1104943"/>
                    <a:pt x="7340060" y="1114935"/>
                  </a:cubicBezTo>
                  <a:close/>
                  <a:moveTo>
                    <a:pt x="5857766" y="1067837"/>
                  </a:moveTo>
                  <a:lnTo>
                    <a:pt x="5854963" y="1062414"/>
                  </a:lnTo>
                  <a:cubicBezTo>
                    <a:pt x="5876959" y="1051081"/>
                    <a:pt x="5899137" y="1040297"/>
                    <a:pt x="5920828" y="1030426"/>
                  </a:cubicBezTo>
                  <a:lnTo>
                    <a:pt x="5923387" y="1035970"/>
                  </a:lnTo>
                  <a:cubicBezTo>
                    <a:pt x="5901757" y="1045841"/>
                    <a:pt x="5879701" y="1056565"/>
                    <a:pt x="5857766" y="1067837"/>
                  </a:cubicBezTo>
                  <a:close/>
                  <a:moveTo>
                    <a:pt x="7201993" y="1065582"/>
                  </a:moveTo>
                  <a:cubicBezTo>
                    <a:pt x="7178901" y="1056809"/>
                    <a:pt x="7155748" y="1048400"/>
                    <a:pt x="7133265" y="1040479"/>
                  </a:cubicBezTo>
                  <a:lnTo>
                    <a:pt x="7135276" y="1034752"/>
                  </a:lnTo>
                  <a:cubicBezTo>
                    <a:pt x="7157819" y="1042673"/>
                    <a:pt x="7180973" y="1051142"/>
                    <a:pt x="7204126" y="1059916"/>
                  </a:cubicBezTo>
                  <a:close/>
                  <a:moveTo>
                    <a:pt x="11380236" y="1064668"/>
                  </a:moveTo>
                  <a:lnTo>
                    <a:pt x="11375057" y="1061439"/>
                  </a:lnTo>
                  <a:cubicBezTo>
                    <a:pt x="11387731" y="1041150"/>
                    <a:pt x="11400404" y="1020068"/>
                    <a:pt x="11412712" y="998864"/>
                  </a:cubicBezTo>
                  <a:lnTo>
                    <a:pt x="11418013" y="1001911"/>
                  </a:lnTo>
                  <a:cubicBezTo>
                    <a:pt x="11405644" y="1023480"/>
                    <a:pt x="11392971" y="1044318"/>
                    <a:pt x="11380236" y="1064668"/>
                  </a:cubicBezTo>
                  <a:close/>
                  <a:moveTo>
                    <a:pt x="7063866" y="1017387"/>
                  </a:moveTo>
                  <a:cubicBezTo>
                    <a:pt x="7040409" y="1009893"/>
                    <a:pt x="7016829" y="1002764"/>
                    <a:pt x="6993859" y="996184"/>
                  </a:cubicBezTo>
                  <a:lnTo>
                    <a:pt x="6995565" y="990091"/>
                  </a:lnTo>
                  <a:cubicBezTo>
                    <a:pt x="7018596" y="996671"/>
                    <a:pt x="7042175" y="1003800"/>
                    <a:pt x="7065755" y="1011355"/>
                  </a:cubicBezTo>
                  <a:close/>
                  <a:moveTo>
                    <a:pt x="5990471" y="1007273"/>
                  </a:moveTo>
                  <a:lnTo>
                    <a:pt x="5988277" y="1001606"/>
                  </a:lnTo>
                  <a:cubicBezTo>
                    <a:pt x="6011065" y="992589"/>
                    <a:pt x="6034218" y="984120"/>
                    <a:pt x="6057067" y="976442"/>
                  </a:cubicBezTo>
                  <a:lnTo>
                    <a:pt x="6059016" y="982535"/>
                  </a:lnTo>
                  <a:cubicBezTo>
                    <a:pt x="6036290" y="989847"/>
                    <a:pt x="6013198" y="998255"/>
                    <a:pt x="5990471" y="1007273"/>
                  </a:cubicBezTo>
                  <a:close/>
                  <a:moveTo>
                    <a:pt x="6923241" y="976808"/>
                  </a:moveTo>
                  <a:lnTo>
                    <a:pt x="6906242" y="972665"/>
                  </a:lnTo>
                  <a:cubicBezTo>
                    <a:pt x="6887963" y="968278"/>
                    <a:pt x="6869684" y="964074"/>
                    <a:pt x="6852014" y="960479"/>
                  </a:cubicBezTo>
                  <a:lnTo>
                    <a:pt x="6853294" y="954386"/>
                  </a:lnTo>
                  <a:cubicBezTo>
                    <a:pt x="6871024" y="958225"/>
                    <a:pt x="6889364" y="962368"/>
                    <a:pt x="6907704" y="966572"/>
                  </a:cubicBezTo>
                  <a:lnTo>
                    <a:pt x="6924704" y="970715"/>
                  </a:lnTo>
                  <a:close/>
                  <a:moveTo>
                    <a:pt x="6128781" y="960783"/>
                  </a:moveTo>
                  <a:lnTo>
                    <a:pt x="6127196" y="954691"/>
                  </a:lnTo>
                  <a:cubicBezTo>
                    <a:pt x="6150716" y="948293"/>
                    <a:pt x="6174660" y="942505"/>
                    <a:pt x="6198362" y="937509"/>
                  </a:cubicBezTo>
                  <a:lnTo>
                    <a:pt x="6199642" y="943601"/>
                  </a:lnTo>
                  <a:cubicBezTo>
                    <a:pt x="6176001" y="948902"/>
                    <a:pt x="6152178" y="954691"/>
                    <a:pt x="6128781" y="961027"/>
                  </a:cubicBezTo>
                  <a:close/>
                  <a:moveTo>
                    <a:pt x="6780300" y="945917"/>
                  </a:moveTo>
                  <a:cubicBezTo>
                    <a:pt x="6755928" y="941469"/>
                    <a:pt x="6731557" y="937509"/>
                    <a:pt x="6708099" y="934096"/>
                  </a:cubicBezTo>
                  <a:lnTo>
                    <a:pt x="6709013" y="928003"/>
                  </a:lnTo>
                  <a:cubicBezTo>
                    <a:pt x="6732715" y="931416"/>
                    <a:pt x="6757086" y="935437"/>
                    <a:pt x="6781397" y="939885"/>
                  </a:cubicBezTo>
                  <a:close/>
                  <a:moveTo>
                    <a:pt x="11453595" y="937691"/>
                  </a:moveTo>
                  <a:lnTo>
                    <a:pt x="11448233" y="934828"/>
                  </a:lnTo>
                  <a:cubicBezTo>
                    <a:pt x="11459384" y="914111"/>
                    <a:pt x="11470778" y="892177"/>
                    <a:pt x="11482111" y="870059"/>
                  </a:cubicBezTo>
                  <a:lnTo>
                    <a:pt x="11487533" y="872801"/>
                  </a:lnTo>
                  <a:cubicBezTo>
                    <a:pt x="11476383" y="895528"/>
                    <a:pt x="11464989" y="917219"/>
                    <a:pt x="11453778" y="938179"/>
                  </a:cubicBezTo>
                  <a:close/>
                  <a:moveTo>
                    <a:pt x="6271234" y="930745"/>
                  </a:moveTo>
                  <a:lnTo>
                    <a:pt x="6270320" y="924652"/>
                  </a:lnTo>
                  <a:cubicBezTo>
                    <a:pt x="6294204" y="921057"/>
                    <a:pt x="6318637" y="918072"/>
                    <a:pt x="6343009" y="915817"/>
                  </a:cubicBezTo>
                  <a:lnTo>
                    <a:pt x="6343619" y="921910"/>
                  </a:lnTo>
                  <a:cubicBezTo>
                    <a:pt x="6319490" y="924409"/>
                    <a:pt x="6295179" y="927394"/>
                    <a:pt x="6271417" y="930989"/>
                  </a:cubicBezTo>
                  <a:close/>
                  <a:moveTo>
                    <a:pt x="6635410" y="925018"/>
                  </a:moveTo>
                  <a:cubicBezTo>
                    <a:pt x="6611038" y="922398"/>
                    <a:pt x="6586666" y="920387"/>
                    <a:pt x="6562294" y="918925"/>
                  </a:cubicBezTo>
                  <a:lnTo>
                    <a:pt x="6562660" y="912832"/>
                  </a:lnTo>
                  <a:cubicBezTo>
                    <a:pt x="6586605" y="914233"/>
                    <a:pt x="6611404" y="916305"/>
                    <a:pt x="6635776" y="918925"/>
                  </a:cubicBezTo>
                  <a:close/>
                  <a:moveTo>
                    <a:pt x="6416368" y="917402"/>
                  </a:moveTo>
                  <a:lnTo>
                    <a:pt x="6416368" y="911309"/>
                  </a:lnTo>
                  <a:cubicBezTo>
                    <a:pt x="6434221" y="910639"/>
                    <a:pt x="6452500" y="910273"/>
                    <a:pt x="6470596" y="910273"/>
                  </a:cubicBezTo>
                  <a:lnTo>
                    <a:pt x="6470596" y="910273"/>
                  </a:lnTo>
                  <a:lnTo>
                    <a:pt x="6489484" y="910273"/>
                  </a:lnTo>
                  <a:lnTo>
                    <a:pt x="6489484" y="916366"/>
                  </a:lnTo>
                  <a:cubicBezTo>
                    <a:pt x="6483391" y="916366"/>
                    <a:pt x="6476932" y="916366"/>
                    <a:pt x="6470413" y="916366"/>
                  </a:cubicBezTo>
                  <a:cubicBezTo>
                    <a:pt x="6452560" y="916366"/>
                    <a:pt x="6434647" y="916732"/>
                    <a:pt x="6416368" y="917402"/>
                  </a:cubicBezTo>
                  <a:close/>
                  <a:moveTo>
                    <a:pt x="11519948" y="807363"/>
                  </a:moveTo>
                  <a:lnTo>
                    <a:pt x="11514464" y="804743"/>
                  </a:lnTo>
                  <a:cubicBezTo>
                    <a:pt x="11524273" y="784332"/>
                    <a:pt x="11534510" y="762702"/>
                    <a:pt x="11545721" y="738573"/>
                  </a:cubicBezTo>
                  <a:lnTo>
                    <a:pt x="11551205" y="741194"/>
                  </a:lnTo>
                  <a:cubicBezTo>
                    <a:pt x="11540542" y="765322"/>
                    <a:pt x="11530062" y="786951"/>
                    <a:pt x="11520192" y="807363"/>
                  </a:cubicBezTo>
                  <a:close/>
                  <a:moveTo>
                    <a:pt x="11581730" y="674597"/>
                  </a:moveTo>
                  <a:lnTo>
                    <a:pt x="11576185" y="672099"/>
                  </a:lnTo>
                  <a:lnTo>
                    <a:pt x="11606650" y="605443"/>
                  </a:lnTo>
                  <a:lnTo>
                    <a:pt x="11612195" y="607940"/>
                  </a:lnTo>
                  <a:close/>
                  <a:moveTo>
                    <a:pt x="11642660" y="541406"/>
                  </a:moveTo>
                  <a:lnTo>
                    <a:pt x="11637115" y="538846"/>
                  </a:lnTo>
                  <a:cubicBezTo>
                    <a:pt x="11648387" y="514475"/>
                    <a:pt x="11658623" y="492845"/>
                    <a:pt x="11668433" y="472677"/>
                  </a:cubicBezTo>
                  <a:lnTo>
                    <a:pt x="11673917" y="475297"/>
                  </a:lnTo>
                  <a:cubicBezTo>
                    <a:pt x="11664168" y="495526"/>
                    <a:pt x="11653993" y="517095"/>
                    <a:pt x="11642721" y="541406"/>
                  </a:cubicBezTo>
                  <a:close/>
                  <a:moveTo>
                    <a:pt x="11706636" y="409798"/>
                  </a:moveTo>
                  <a:lnTo>
                    <a:pt x="11701213" y="407056"/>
                  </a:lnTo>
                  <a:cubicBezTo>
                    <a:pt x="11713034" y="384146"/>
                    <a:pt x="11724428" y="363065"/>
                    <a:pt x="11735943" y="342531"/>
                  </a:cubicBezTo>
                  <a:lnTo>
                    <a:pt x="11741304" y="345517"/>
                  </a:lnTo>
                  <a:cubicBezTo>
                    <a:pt x="11729789" y="365989"/>
                    <a:pt x="11718456" y="387010"/>
                    <a:pt x="11706697" y="409798"/>
                  </a:cubicBezTo>
                  <a:close/>
                  <a:moveTo>
                    <a:pt x="11778167" y="282760"/>
                  </a:moveTo>
                  <a:lnTo>
                    <a:pt x="11772988" y="279530"/>
                  </a:lnTo>
                  <a:cubicBezTo>
                    <a:pt x="11786088" y="258449"/>
                    <a:pt x="11799614" y="237855"/>
                    <a:pt x="11813202" y="218601"/>
                  </a:cubicBezTo>
                  <a:lnTo>
                    <a:pt x="11818197" y="222074"/>
                  </a:lnTo>
                  <a:cubicBezTo>
                    <a:pt x="11804915" y="241206"/>
                    <a:pt x="11791450" y="261861"/>
                    <a:pt x="11778167" y="282760"/>
                  </a:cubicBezTo>
                  <a:close/>
                  <a:moveTo>
                    <a:pt x="11861458" y="163155"/>
                  </a:moveTo>
                  <a:lnTo>
                    <a:pt x="11856705" y="159377"/>
                  </a:lnTo>
                  <a:cubicBezTo>
                    <a:pt x="11871755" y="140123"/>
                    <a:pt x="11887535" y="121235"/>
                    <a:pt x="11903560" y="103078"/>
                  </a:cubicBezTo>
                  <a:lnTo>
                    <a:pt x="11908129" y="107161"/>
                  </a:lnTo>
                  <a:cubicBezTo>
                    <a:pt x="11892410" y="125135"/>
                    <a:pt x="11876690" y="144023"/>
                    <a:pt x="11861701" y="163155"/>
                  </a:cubicBezTo>
                  <a:close/>
                  <a:moveTo>
                    <a:pt x="11958153" y="54152"/>
                  </a:moveTo>
                  <a:lnTo>
                    <a:pt x="11953827" y="49826"/>
                  </a:lnTo>
                  <a:cubicBezTo>
                    <a:pt x="11971009" y="32766"/>
                    <a:pt x="11989044" y="15888"/>
                    <a:pt x="12007384" y="-197"/>
                  </a:cubicBezTo>
                  <a:lnTo>
                    <a:pt x="12011405" y="4372"/>
                  </a:lnTo>
                  <a:cubicBezTo>
                    <a:pt x="11993370" y="20397"/>
                    <a:pt x="11975457" y="37153"/>
                    <a:pt x="11958396" y="54152"/>
                  </a:cubicBezTo>
                  <a:close/>
                </a:path>
              </a:pathLst>
            </a:custGeom>
            <a:solidFill>
              <a:schemeClr val="bg1"/>
            </a:solidFill>
            <a:ln w="6093"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4116F4E8-5092-1EE2-7CFC-0C07B47102BB}"/>
                </a:ext>
              </a:extLst>
            </p:cNvPr>
            <p:cNvSpPr/>
            <p:nvPr/>
          </p:nvSpPr>
          <p:spPr>
            <a:xfrm>
              <a:off x="12157513" y="1776103"/>
              <a:ext cx="32902" cy="26747"/>
            </a:xfrm>
            <a:custGeom>
              <a:avLst/>
              <a:gdLst>
                <a:gd name="connsiteX0" fmla="*/ 3717 w 32902"/>
                <a:gd name="connsiteY0" fmla="*/ 26551 h 26747"/>
                <a:gd name="connsiteX1" fmla="*/ 0 w 32902"/>
                <a:gd name="connsiteY1" fmla="*/ 21737 h 26747"/>
                <a:gd name="connsiteX2" fmla="*/ 29368 w 32902"/>
                <a:gd name="connsiteY2" fmla="*/ -197 h 26747"/>
                <a:gd name="connsiteX3" fmla="*/ 32903 w 32902"/>
                <a:gd name="connsiteY3" fmla="*/ 4738 h 26747"/>
                <a:gd name="connsiteX4" fmla="*/ 3717 w 32902"/>
                <a:gd name="connsiteY4" fmla="*/ 26551 h 26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02" h="26747">
                  <a:moveTo>
                    <a:pt x="3717" y="26551"/>
                  </a:moveTo>
                  <a:lnTo>
                    <a:pt x="0" y="21737"/>
                  </a:lnTo>
                  <a:cubicBezTo>
                    <a:pt x="9627" y="14304"/>
                    <a:pt x="19498" y="6931"/>
                    <a:pt x="29368" y="-197"/>
                  </a:cubicBezTo>
                  <a:lnTo>
                    <a:pt x="32903" y="4738"/>
                  </a:lnTo>
                  <a:cubicBezTo>
                    <a:pt x="23153" y="12110"/>
                    <a:pt x="13344" y="19178"/>
                    <a:pt x="3717" y="26551"/>
                  </a:cubicBezTo>
                  <a:close/>
                </a:path>
              </a:pathLst>
            </a:custGeom>
            <a:solidFill>
              <a:schemeClr val="bg1"/>
            </a:solidFill>
            <a:ln w="6093"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3F663171-48FC-C0E3-AB67-021FC712E94E}"/>
                </a:ext>
              </a:extLst>
            </p:cNvPr>
            <p:cNvSpPr/>
            <p:nvPr/>
          </p:nvSpPr>
          <p:spPr>
            <a:xfrm>
              <a:off x="0" y="1381766"/>
              <a:ext cx="12191756" cy="4095318"/>
            </a:xfrm>
            <a:custGeom>
              <a:avLst/>
              <a:gdLst>
                <a:gd name="connsiteX0" fmla="*/ 5484 w 12191756"/>
                <a:gd name="connsiteY0" fmla="*/ 4095121 h 4095318"/>
                <a:gd name="connsiteX1" fmla="*/ 0 w 12191756"/>
                <a:gd name="connsiteY1" fmla="*/ 4092379 h 4095318"/>
                <a:gd name="connsiteX2" fmla="*/ 34730 w 12191756"/>
                <a:gd name="connsiteY2" fmla="*/ 4026819 h 4095318"/>
                <a:gd name="connsiteX3" fmla="*/ 40092 w 12191756"/>
                <a:gd name="connsiteY3" fmla="*/ 4029743 h 4095318"/>
                <a:gd name="connsiteX4" fmla="*/ 5484 w 12191756"/>
                <a:gd name="connsiteY4" fmla="*/ 4095121 h 4095318"/>
                <a:gd name="connsiteX5" fmla="*/ 75309 w 12191756"/>
                <a:gd name="connsiteY5" fmla="*/ 3965158 h 4095318"/>
                <a:gd name="connsiteX6" fmla="*/ 70008 w 12191756"/>
                <a:gd name="connsiteY6" fmla="*/ 3962234 h 4095318"/>
                <a:gd name="connsiteX7" fmla="*/ 105774 w 12191756"/>
                <a:gd name="connsiteY7" fmla="*/ 3898075 h 4095318"/>
                <a:gd name="connsiteX8" fmla="*/ 111075 w 12191756"/>
                <a:gd name="connsiteY8" fmla="*/ 3901060 h 4095318"/>
                <a:gd name="connsiteX9" fmla="*/ 75309 w 12191756"/>
                <a:gd name="connsiteY9" fmla="*/ 3965158 h 4095318"/>
                <a:gd name="connsiteX10" fmla="*/ 12185664 w 12191756"/>
                <a:gd name="connsiteY10" fmla="*/ 3865538 h 4095318"/>
                <a:gd name="connsiteX11" fmla="*/ 12176890 w 12191756"/>
                <a:gd name="connsiteY11" fmla="*/ 3822583 h 4095318"/>
                <a:gd name="connsiteX12" fmla="*/ 12182983 w 12191756"/>
                <a:gd name="connsiteY12" fmla="*/ 3821364 h 4095318"/>
                <a:gd name="connsiteX13" fmla="*/ 12191757 w 12191756"/>
                <a:gd name="connsiteY13" fmla="*/ 3864015 h 4095318"/>
                <a:gd name="connsiteX14" fmla="*/ 147389 w 12191756"/>
                <a:gd name="connsiteY14" fmla="*/ 3837328 h 4095318"/>
                <a:gd name="connsiteX15" fmla="*/ 142088 w 12191756"/>
                <a:gd name="connsiteY15" fmla="*/ 3834282 h 4095318"/>
                <a:gd name="connsiteX16" fmla="*/ 178646 w 12191756"/>
                <a:gd name="connsiteY16" fmla="*/ 3770854 h 4095318"/>
                <a:gd name="connsiteX17" fmla="*/ 183947 w 12191756"/>
                <a:gd name="connsiteY17" fmla="*/ 3773900 h 4095318"/>
                <a:gd name="connsiteX18" fmla="*/ 147389 w 12191756"/>
                <a:gd name="connsiteY18" fmla="*/ 3837328 h 4095318"/>
                <a:gd name="connsiteX19" fmla="*/ 12161962 w 12191756"/>
                <a:gd name="connsiteY19" fmla="*/ 3751113 h 4095318"/>
                <a:gd name="connsiteX20" fmla="*/ 12146730 w 12191756"/>
                <a:gd name="connsiteY20" fmla="*/ 3679582 h 4095318"/>
                <a:gd name="connsiteX21" fmla="*/ 12152823 w 12191756"/>
                <a:gd name="connsiteY21" fmla="*/ 3678302 h 4095318"/>
                <a:gd name="connsiteX22" fmla="*/ 12168055 w 12191756"/>
                <a:gd name="connsiteY22" fmla="*/ 3749833 h 4095318"/>
                <a:gd name="connsiteX23" fmla="*/ 221418 w 12191756"/>
                <a:gd name="connsiteY23" fmla="*/ 3710838 h 4095318"/>
                <a:gd name="connsiteX24" fmla="*/ 216178 w 12191756"/>
                <a:gd name="connsiteY24" fmla="*/ 3707670 h 4095318"/>
                <a:gd name="connsiteX25" fmla="*/ 253894 w 12191756"/>
                <a:gd name="connsiteY25" fmla="*/ 3644852 h 4095318"/>
                <a:gd name="connsiteX26" fmla="*/ 259073 w 12191756"/>
                <a:gd name="connsiteY26" fmla="*/ 3648020 h 4095318"/>
                <a:gd name="connsiteX27" fmla="*/ 221418 w 12191756"/>
                <a:gd name="connsiteY27" fmla="*/ 3710838 h 4095318"/>
                <a:gd name="connsiteX28" fmla="*/ 12131192 w 12191756"/>
                <a:gd name="connsiteY28" fmla="*/ 3608172 h 4095318"/>
                <a:gd name="connsiteX29" fmla="*/ 12115351 w 12191756"/>
                <a:gd name="connsiteY29" fmla="*/ 3536763 h 4095318"/>
                <a:gd name="connsiteX30" fmla="*/ 12121444 w 12191756"/>
                <a:gd name="connsiteY30" fmla="*/ 3535422 h 4095318"/>
                <a:gd name="connsiteX31" fmla="*/ 12137285 w 12191756"/>
                <a:gd name="connsiteY31" fmla="*/ 3606832 h 4095318"/>
                <a:gd name="connsiteX32" fmla="*/ 297276 w 12191756"/>
                <a:gd name="connsiteY32" fmla="*/ 3585445 h 4095318"/>
                <a:gd name="connsiteX33" fmla="*/ 292036 w 12191756"/>
                <a:gd name="connsiteY33" fmla="*/ 3582277 h 4095318"/>
                <a:gd name="connsiteX34" fmla="*/ 330665 w 12191756"/>
                <a:gd name="connsiteY34" fmla="*/ 3520007 h 4095318"/>
                <a:gd name="connsiteX35" fmla="*/ 335844 w 12191756"/>
                <a:gd name="connsiteY35" fmla="*/ 3523236 h 4095318"/>
                <a:gd name="connsiteX36" fmla="*/ 297276 w 12191756"/>
                <a:gd name="connsiteY36" fmla="*/ 3585445 h 4095318"/>
                <a:gd name="connsiteX37" fmla="*/ 12099326 w 12191756"/>
                <a:gd name="connsiteY37" fmla="*/ 3465475 h 4095318"/>
                <a:gd name="connsiteX38" fmla="*/ 12082815 w 12191756"/>
                <a:gd name="connsiteY38" fmla="*/ 3394248 h 4095318"/>
                <a:gd name="connsiteX39" fmla="*/ 12088908 w 12191756"/>
                <a:gd name="connsiteY39" fmla="*/ 3392847 h 4095318"/>
                <a:gd name="connsiteX40" fmla="*/ 12105419 w 12191756"/>
                <a:gd name="connsiteY40" fmla="*/ 3464135 h 4095318"/>
                <a:gd name="connsiteX41" fmla="*/ 374900 w 12191756"/>
                <a:gd name="connsiteY41" fmla="*/ 3461271 h 4095318"/>
                <a:gd name="connsiteX42" fmla="*/ 369782 w 12191756"/>
                <a:gd name="connsiteY42" fmla="*/ 3458042 h 4095318"/>
                <a:gd name="connsiteX43" fmla="*/ 409325 w 12191756"/>
                <a:gd name="connsiteY43" fmla="*/ 3396320 h 4095318"/>
                <a:gd name="connsiteX44" fmla="*/ 414443 w 12191756"/>
                <a:gd name="connsiteY44" fmla="*/ 3399671 h 4095318"/>
                <a:gd name="connsiteX45" fmla="*/ 374900 w 12191756"/>
                <a:gd name="connsiteY45" fmla="*/ 3461271 h 4095318"/>
                <a:gd name="connsiteX46" fmla="*/ 454108 w 12191756"/>
                <a:gd name="connsiteY46" fmla="*/ 3338376 h 4095318"/>
                <a:gd name="connsiteX47" fmla="*/ 449051 w 12191756"/>
                <a:gd name="connsiteY47" fmla="*/ 3335025 h 4095318"/>
                <a:gd name="connsiteX48" fmla="*/ 489508 w 12191756"/>
                <a:gd name="connsiteY48" fmla="*/ 3274096 h 4095318"/>
                <a:gd name="connsiteX49" fmla="*/ 494566 w 12191756"/>
                <a:gd name="connsiteY49" fmla="*/ 3277447 h 4095318"/>
                <a:gd name="connsiteX50" fmla="*/ 454413 w 12191756"/>
                <a:gd name="connsiteY50" fmla="*/ 3338376 h 4095318"/>
                <a:gd name="connsiteX51" fmla="*/ 12065511 w 12191756"/>
                <a:gd name="connsiteY51" fmla="*/ 3323144 h 4095318"/>
                <a:gd name="connsiteX52" fmla="*/ 12048267 w 12191756"/>
                <a:gd name="connsiteY52" fmla="*/ 3252039 h 4095318"/>
                <a:gd name="connsiteX53" fmla="*/ 12054360 w 12191756"/>
                <a:gd name="connsiteY53" fmla="*/ 3250576 h 4095318"/>
                <a:gd name="connsiteX54" fmla="*/ 12071543 w 12191756"/>
                <a:gd name="connsiteY54" fmla="*/ 3321681 h 4095318"/>
                <a:gd name="connsiteX55" fmla="*/ 535815 w 12191756"/>
                <a:gd name="connsiteY55" fmla="*/ 3216700 h 4095318"/>
                <a:gd name="connsiteX56" fmla="*/ 530819 w 12191756"/>
                <a:gd name="connsiteY56" fmla="*/ 3213227 h 4095318"/>
                <a:gd name="connsiteX57" fmla="*/ 572251 w 12191756"/>
                <a:gd name="connsiteY57" fmla="*/ 3152846 h 4095318"/>
                <a:gd name="connsiteX58" fmla="*/ 577247 w 12191756"/>
                <a:gd name="connsiteY58" fmla="*/ 3156380 h 4095318"/>
                <a:gd name="connsiteX59" fmla="*/ 535815 w 12191756"/>
                <a:gd name="connsiteY59" fmla="*/ 3216700 h 4095318"/>
                <a:gd name="connsiteX60" fmla="*/ 6457313 w 12191756"/>
                <a:gd name="connsiteY60" fmla="*/ 3209510 h 4095318"/>
                <a:gd name="connsiteX61" fmla="*/ 6421852 w 12191756"/>
                <a:gd name="connsiteY61" fmla="*/ 3209510 h 4095318"/>
                <a:gd name="connsiteX62" fmla="*/ 6421852 w 12191756"/>
                <a:gd name="connsiteY62" fmla="*/ 3203417 h 4095318"/>
                <a:gd name="connsiteX63" fmla="*/ 6494967 w 12191756"/>
                <a:gd name="connsiteY63" fmla="*/ 3203417 h 4095318"/>
                <a:gd name="connsiteX64" fmla="*/ 6494967 w 12191756"/>
                <a:gd name="connsiteY64" fmla="*/ 3209510 h 4095318"/>
                <a:gd name="connsiteX65" fmla="*/ 6457313 w 12191756"/>
                <a:gd name="connsiteY65" fmla="*/ 3209510 h 4095318"/>
                <a:gd name="connsiteX66" fmla="*/ 6348676 w 12191756"/>
                <a:gd name="connsiteY66" fmla="*/ 3207195 h 4095318"/>
                <a:gd name="connsiteX67" fmla="*/ 6275560 w 12191756"/>
                <a:gd name="connsiteY67" fmla="*/ 3203234 h 4095318"/>
                <a:gd name="connsiteX68" fmla="*/ 6275925 w 12191756"/>
                <a:gd name="connsiteY68" fmla="*/ 3197141 h 4095318"/>
                <a:gd name="connsiteX69" fmla="*/ 6349041 w 12191756"/>
                <a:gd name="connsiteY69" fmla="*/ 3201102 h 4095318"/>
                <a:gd name="connsiteX70" fmla="*/ 6568022 w 12191756"/>
                <a:gd name="connsiteY70" fmla="*/ 3207195 h 4095318"/>
                <a:gd name="connsiteX71" fmla="*/ 6568022 w 12191756"/>
                <a:gd name="connsiteY71" fmla="*/ 3201102 h 4095318"/>
                <a:gd name="connsiteX72" fmla="*/ 6641137 w 12191756"/>
                <a:gd name="connsiteY72" fmla="*/ 3196349 h 4095318"/>
                <a:gd name="connsiteX73" fmla="*/ 6641625 w 12191756"/>
                <a:gd name="connsiteY73" fmla="*/ 3202442 h 4095318"/>
                <a:gd name="connsiteX74" fmla="*/ 6568205 w 12191756"/>
                <a:gd name="connsiteY74" fmla="*/ 3206890 h 4095318"/>
                <a:gd name="connsiteX75" fmla="*/ 6202445 w 12191756"/>
                <a:gd name="connsiteY75" fmla="*/ 3197751 h 4095318"/>
                <a:gd name="connsiteX76" fmla="*/ 6129634 w 12191756"/>
                <a:gd name="connsiteY76" fmla="*/ 3190378 h 4095318"/>
                <a:gd name="connsiteX77" fmla="*/ 6130304 w 12191756"/>
                <a:gd name="connsiteY77" fmla="*/ 3184285 h 4095318"/>
                <a:gd name="connsiteX78" fmla="*/ 6202993 w 12191756"/>
                <a:gd name="connsiteY78" fmla="*/ 3191719 h 4095318"/>
                <a:gd name="connsiteX79" fmla="*/ 6714253 w 12191756"/>
                <a:gd name="connsiteY79" fmla="*/ 3195009 h 4095318"/>
                <a:gd name="connsiteX80" fmla="*/ 6713522 w 12191756"/>
                <a:gd name="connsiteY80" fmla="*/ 3188916 h 4095318"/>
                <a:gd name="connsiteX81" fmla="*/ 6785784 w 12191756"/>
                <a:gd name="connsiteY81" fmla="*/ 3178558 h 4095318"/>
                <a:gd name="connsiteX82" fmla="*/ 6786759 w 12191756"/>
                <a:gd name="connsiteY82" fmla="*/ 3184651 h 4095318"/>
                <a:gd name="connsiteX83" fmla="*/ 6714131 w 12191756"/>
                <a:gd name="connsiteY83" fmla="*/ 3194704 h 4095318"/>
                <a:gd name="connsiteX84" fmla="*/ 6057311 w 12191756"/>
                <a:gd name="connsiteY84" fmla="*/ 3181422 h 4095318"/>
                <a:gd name="connsiteX85" fmla="*/ 5984865 w 12191756"/>
                <a:gd name="connsiteY85" fmla="*/ 3171002 h 4095318"/>
                <a:gd name="connsiteX86" fmla="*/ 5985779 w 12191756"/>
                <a:gd name="connsiteY86" fmla="*/ 3164910 h 4095318"/>
                <a:gd name="connsiteX87" fmla="*/ 6058103 w 12191756"/>
                <a:gd name="connsiteY87" fmla="*/ 3175268 h 4095318"/>
                <a:gd name="connsiteX88" fmla="*/ 12031147 w 12191756"/>
                <a:gd name="connsiteY88" fmla="*/ 3181422 h 4095318"/>
                <a:gd name="connsiteX89" fmla="*/ 12013294 w 12191756"/>
                <a:gd name="connsiteY89" fmla="*/ 3110499 h 4095318"/>
                <a:gd name="connsiteX90" fmla="*/ 12019387 w 12191756"/>
                <a:gd name="connsiteY90" fmla="*/ 3108976 h 4095318"/>
                <a:gd name="connsiteX91" fmla="*/ 12037301 w 12191756"/>
                <a:gd name="connsiteY91" fmla="*/ 3179898 h 4095318"/>
                <a:gd name="connsiteX92" fmla="*/ 6858777 w 12191756"/>
                <a:gd name="connsiteY92" fmla="*/ 3171124 h 4095318"/>
                <a:gd name="connsiteX93" fmla="*/ 6857498 w 12191756"/>
                <a:gd name="connsiteY93" fmla="*/ 3165032 h 4095318"/>
                <a:gd name="connsiteX94" fmla="*/ 6928420 w 12191756"/>
                <a:gd name="connsiteY94" fmla="*/ 3148032 h 4095318"/>
                <a:gd name="connsiteX95" fmla="*/ 6930005 w 12191756"/>
                <a:gd name="connsiteY95" fmla="*/ 3154125 h 4095318"/>
                <a:gd name="connsiteX96" fmla="*/ 6858656 w 12191756"/>
                <a:gd name="connsiteY96" fmla="*/ 3170820 h 4095318"/>
                <a:gd name="connsiteX97" fmla="*/ 5912603 w 12191756"/>
                <a:gd name="connsiteY97" fmla="*/ 3158939 h 4095318"/>
                <a:gd name="connsiteX98" fmla="*/ 5840584 w 12191756"/>
                <a:gd name="connsiteY98" fmla="*/ 3145900 h 4095318"/>
                <a:gd name="connsiteX99" fmla="*/ 5841742 w 12191756"/>
                <a:gd name="connsiteY99" fmla="*/ 3139807 h 4095318"/>
                <a:gd name="connsiteX100" fmla="*/ 5913639 w 12191756"/>
                <a:gd name="connsiteY100" fmla="*/ 3152846 h 4095318"/>
                <a:gd name="connsiteX101" fmla="*/ 7000256 w 12191756"/>
                <a:gd name="connsiteY101" fmla="*/ 3132922 h 4095318"/>
                <a:gd name="connsiteX102" fmla="*/ 6998367 w 12191756"/>
                <a:gd name="connsiteY102" fmla="*/ 3126829 h 4095318"/>
                <a:gd name="connsiteX103" fmla="*/ 7050828 w 12191756"/>
                <a:gd name="connsiteY103" fmla="*/ 3108550 h 4095318"/>
                <a:gd name="connsiteX104" fmla="*/ 7066913 w 12191756"/>
                <a:gd name="connsiteY104" fmla="*/ 3102457 h 4095318"/>
                <a:gd name="connsiteX105" fmla="*/ 7069167 w 12191756"/>
                <a:gd name="connsiteY105" fmla="*/ 3108123 h 4095318"/>
                <a:gd name="connsiteX106" fmla="*/ 7052960 w 12191756"/>
                <a:gd name="connsiteY106" fmla="*/ 3114216 h 4095318"/>
                <a:gd name="connsiteX107" fmla="*/ 7000134 w 12191756"/>
                <a:gd name="connsiteY107" fmla="*/ 3132922 h 4095318"/>
                <a:gd name="connsiteX108" fmla="*/ 5768809 w 12191756"/>
                <a:gd name="connsiteY108" fmla="*/ 3131703 h 4095318"/>
                <a:gd name="connsiteX109" fmla="*/ 5697278 w 12191756"/>
                <a:gd name="connsiteY109" fmla="*/ 3116288 h 4095318"/>
                <a:gd name="connsiteX110" fmla="*/ 5698557 w 12191756"/>
                <a:gd name="connsiteY110" fmla="*/ 3110195 h 4095318"/>
                <a:gd name="connsiteX111" fmla="*/ 5770028 w 12191756"/>
                <a:gd name="connsiteY111" fmla="*/ 3125549 h 4095318"/>
                <a:gd name="connsiteX112" fmla="*/ 5625929 w 12191756"/>
                <a:gd name="connsiteY112" fmla="*/ 3099837 h 4095318"/>
                <a:gd name="connsiteX113" fmla="*/ 5554885 w 12191756"/>
                <a:gd name="connsiteY113" fmla="*/ 3082350 h 4095318"/>
                <a:gd name="connsiteX114" fmla="*/ 5556409 w 12191756"/>
                <a:gd name="connsiteY114" fmla="*/ 3076257 h 4095318"/>
                <a:gd name="connsiteX115" fmla="*/ 5627392 w 12191756"/>
                <a:gd name="connsiteY115" fmla="*/ 3093744 h 4095318"/>
                <a:gd name="connsiteX116" fmla="*/ 619349 w 12191756"/>
                <a:gd name="connsiteY116" fmla="*/ 3096364 h 4095318"/>
                <a:gd name="connsiteX117" fmla="*/ 614353 w 12191756"/>
                <a:gd name="connsiteY117" fmla="*/ 3092891 h 4095318"/>
                <a:gd name="connsiteX118" fmla="*/ 657004 w 12191756"/>
                <a:gd name="connsiteY118" fmla="*/ 3033241 h 4095318"/>
                <a:gd name="connsiteX119" fmla="*/ 661939 w 12191756"/>
                <a:gd name="connsiteY119" fmla="*/ 3036775 h 4095318"/>
                <a:gd name="connsiteX120" fmla="*/ 619227 w 12191756"/>
                <a:gd name="connsiteY120" fmla="*/ 3096364 h 4095318"/>
                <a:gd name="connsiteX121" fmla="*/ 7136251 w 12191756"/>
                <a:gd name="connsiteY121" fmla="*/ 3078694 h 4095318"/>
                <a:gd name="connsiteX122" fmla="*/ 7133631 w 12191756"/>
                <a:gd name="connsiteY122" fmla="*/ 3073211 h 4095318"/>
                <a:gd name="connsiteX123" fmla="*/ 7198521 w 12191756"/>
                <a:gd name="connsiteY123" fmla="*/ 3040126 h 4095318"/>
                <a:gd name="connsiteX124" fmla="*/ 7201445 w 12191756"/>
                <a:gd name="connsiteY124" fmla="*/ 3045427 h 4095318"/>
                <a:gd name="connsiteX125" fmla="*/ 7136129 w 12191756"/>
                <a:gd name="connsiteY125" fmla="*/ 3078694 h 4095318"/>
                <a:gd name="connsiteX126" fmla="*/ 5483963 w 12191756"/>
                <a:gd name="connsiteY126" fmla="*/ 3063889 h 4095318"/>
                <a:gd name="connsiteX127" fmla="*/ 5413407 w 12191756"/>
                <a:gd name="connsiteY127" fmla="*/ 3044513 h 4095318"/>
                <a:gd name="connsiteX128" fmla="*/ 5415052 w 12191756"/>
                <a:gd name="connsiteY128" fmla="*/ 3038420 h 4095318"/>
                <a:gd name="connsiteX129" fmla="*/ 5485548 w 12191756"/>
                <a:gd name="connsiteY129" fmla="*/ 3057735 h 4095318"/>
                <a:gd name="connsiteX130" fmla="*/ 11994893 w 12191756"/>
                <a:gd name="connsiteY130" fmla="*/ 3039517 h 4095318"/>
                <a:gd name="connsiteX131" fmla="*/ 11976614 w 12191756"/>
                <a:gd name="connsiteY131" fmla="*/ 2968838 h 4095318"/>
                <a:gd name="connsiteX132" fmla="*/ 11982707 w 12191756"/>
                <a:gd name="connsiteY132" fmla="*/ 2967254 h 4095318"/>
                <a:gd name="connsiteX133" fmla="*/ 12001291 w 12191756"/>
                <a:gd name="connsiteY133" fmla="*/ 3037994 h 4095318"/>
                <a:gd name="connsiteX134" fmla="*/ 5343094 w 12191756"/>
                <a:gd name="connsiteY134" fmla="*/ 3024223 h 4095318"/>
                <a:gd name="connsiteX135" fmla="*/ 5273025 w 12191756"/>
                <a:gd name="connsiteY135" fmla="*/ 3003081 h 4095318"/>
                <a:gd name="connsiteX136" fmla="*/ 5274854 w 12191756"/>
                <a:gd name="connsiteY136" fmla="*/ 2996988 h 4095318"/>
                <a:gd name="connsiteX137" fmla="*/ 5344801 w 12191756"/>
                <a:gd name="connsiteY137" fmla="*/ 3018130 h 4095318"/>
                <a:gd name="connsiteX138" fmla="*/ 7264690 w 12191756"/>
                <a:gd name="connsiteY138" fmla="*/ 3008747 h 4095318"/>
                <a:gd name="connsiteX139" fmla="*/ 7261461 w 12191756"/>
                <a:gd name="connsiteY139" fmla="*/ 3003507 h 4095318"/>
                <a:gd name="connsiteX140" fmla="*/ 7322817 w 12191756"/>
                <a:gd name="connsiteY140" fmla="*/ 2963964 h 4095318"/>
                <a:gd name="connsiteX141" fmla="*/ 7326229 w 12191756"/>
                <a:gd name="connsiteY141" fmla="*/ 2969021 h 4095318"/>
                <a:gd name="connsiteX142" fmla="*/ 7264690 w 12191756"/>
                <a:gd name="connsiteY142" fmla="*/ 3008747 h 4095318"/>
                <a:gd name="connsiteX143" fmla="*/ 5203261 w 12191756"/>
                <a:gd name="connsiteY143" fmla="*/ 2981085 h 4095318"/>
                <a:gd name="connsiteX144" fmla="*/ 5133741 w 12191756"/>
                <a:gd name="connsiteY144" fmla="*/ 2958298 h 4095318"/>
                <a:gd name="connsiteX145" fmla="*/ 5135629 w 12191756"/>
                <a:gd name="connsiteY145" fmla="*/ 2952205 h 4095318"/>
                <a:gd name="connsiteX146" fmla="*/ 5205150 w 12191756"/>
                <a:gd name="connsiteY146" fmla="*/ 2974992 h 4095318"/>
                <a:gd name="connsiteX147" fmla="*/ 704711 w 12191756"/>
                <a:gd name="connsiteY147" fmla="*/ 2977673 h 4095318"/>
                <a:gd name="connsiteX148" fmla="*/ 699776 w 12191756"/>
                <a:gd name="connsiteY148" fmla="*/ 2974078 h 4095318"/>
                <a:gd name="connsiteX149" fmla="*/ 743341 w 12191756"/>
                <a:gd name="connsiteY149" fmla="*/ 2915220 h 4095318"/>
                <a:gd name="connsiteX150" fmla="*/ 748215 w 12191756"/>
                <a:gd name="connsiteY150" fmla="*/ 2918876 h 4095318"/>
                <a:gd name="connsiteX151" fmla="*/ 704711 w 12191756"/>
                <a:gd name="connsiteY151" fmla="*/ 2977673 h 4095318"/>
                <a:gd name="connsiteX152" fmla="*/ 5064464 w 12191756"/>
                <a:gd name="connsiteY152" fmla="*/ 2935022 h 4095318"/>
                <a:gd name="connsiteX153" fmla="*/ 4995430 w 12191756"/>
                <a:gd name="connsiteY153" fmla="*/ 2910651 h 4095318"/>
                <a:gd name="connsiteX154" fmla="*/ 4997502 w 12191756"/>
                <a:gd name="connsiteY154" fmla="*/ 2904923 h 4095318"/>
                <a:gd name="connsiteX155" fmla="*/ 5066413 w 12191756"/>
                <a:gd name="connsiteY155" fmla="*/ 2929295 h 4095318"/>
                <a:gd name="connsiteX156" fmla="*/ 7385879 w 12191756"/>
                <a:gd name="connsiteY156" fmla="*/ 2926980 h 4095318"/>
                <a:gd name="connsiteX157" fmla="*/ 7382284 w 12191756"/>
                <a:gd name="connsiteY157" fmla="*/ 2922105 h 4095318"/>
                <a:gd name="connsiteX158" fmla="*/ 7440228 w 12191756"/>
                <a:gd name="connsiteY158" fmla="*/ 2877688 h 4095318"/>
                <a:gd name="connsiteX159" fmla="*/ 7444006 w 12191756"/>
                <a:gd name="connsiteY159" fmla="*/ 2882501 h 4095318"/>
                <a:gd name="connsiteX160" fmla="*/ 7386001 w 12191756"/>
                <a:gd name="connsiteY160" fmla="*/ 2926736 h 4095318"/>
                <a:gd name="connsiteX161" fmla="*/ 11957178 w 12191756"/>
                <a:gd name="connsiteY161" fmla="*/ 2898343 h 4095318"/>
                <a:gd name="connsiteX162" fmla="*/ 11937802 w 12191756"/>
                <a:gd name="connsiteY162" fmla="*/ 2827847 h 4095318"/>
                <a:gd name="connsiteX163" fmla="*/ 11943895 w 12191756"/>
                <a:gd name="connsiteY163" fmla="*/ 2826202 h 4095318"/>
                <a:gd name="connsiteX164" fmla="*/ 11963271 w 12191756"/>
                <a:gd name="connsiteY164" fmla="*/ 2896759 h 4095318"/>
                <a:gd name="connsiteX165" fmla="*/ 4926519 w 12191756"/>
                <a:gd name="connsiteY165" fmla="*/ 2885730 h 4095318"/>
                <a:gd name="connsiteX166" fmla="*/ 4858034 w 12191756"/>
                <a:gd name="connsiteY166" fmla="*/ 2860018 h 4095318"/>
                <a:gd name="connsiteX167" fmla="*/ 4860228 w 12191756"/>
                <a:gd name="connsiteY167" fmla="*/ 2854352 h 4095318"/>
                <a:gd name="connsiteX168" fmla="*/ 4928652 w 12191756"/>
                <a:gd name="connsiteY168" fmla="*/ 2880003 h 4095318"/>
                <a:gd name="connsiteX169" fmla="*/ 792206 w 12191756"/>
                <a:gd name="connsiteY169" fmla="*/ 2860627 h 4095318"/>
                <a:gd name="connsiteX170" fmla="*/ 787393 w 12191756"/>
                <a:gd name="connsiteY170" fmla="*/ 2856911 h 4095318"/>
                <a:gd name="connsiteX171" fmla="*/ 832115 w 12191756"/>
                <a:gd name="connsiteY171" fmla="*/ 2798967 h 4095318"/>
                <a:gd name="connsiteX172" fmla="*/ 836929 w 12191756"/>
                <a:gd name="connsiteY172" fmla="*/ 2802684 h 4095318"/>
                <a:gd name="connsiteX173" fmla="*/ 792328 w 12191756"/>
                <a:gd name="connsiteY173" fmla="*/ 2860384 h 4095318"/>
                <a:gd name="connsiteX174" fmla="*/ 7500548 w 12191756"/>
                <a:gd name="connsiteY174" fmla="*/ 2836256 h 4095318"/>
                <a:gd name="connsiteX175" fmla="*/ 7497075 w 12191756"/>
                <a:gd name="connsiteY175" fmla="*/ 2831442 h 4095318"/>
                <a:gd name="connsiteX176" fmla="*/ 7551912 w 12191756"/>
                <a:gd name="connsiteY176" fmla="*/ 2783369 h 4095318"/>
                <a:gd name="connsiteX177" fmla="*/ 7555994 w 12191756"/>
                <a:gd name="connsiteY177" fmla="*/ 2787938 h 4095318"/>
                <a:gd name="connsiteX178" fmla="*/ 7500731 w 12191756"/>
                <a:gd name="connsiteY178" fmla="*/ 2835768 h 4095318"/>
                <a:gd name="connsiteX179" fmla="*/ 4789732 w 12191756"/>
                <a:gd name="connsiteY179" fmla="*/ 2833880 h 4095318"/>
                <a:gd name="connsiteX180" fmla="*/ 4721735 w 12191756"/>
                <a:gd name="connsiteY180" fmla="*/ 2806827 h 4095318"/>
                <a:gd name="connsiteX181" fmla="*/ 4724050 w 12191756"/>
                <a:gd name="connsiteY181" fmla="*/ 2801160 h 4095318"/>
                <a:gd name="connsiteX182" fmla="*/ 4791987 w 12191756"/>
                <a:gd name="connsiteY182" fmla="*/ 2828213 h 4095318"/>
                <a:gd name="connsiteX183" fmla="*/ 4654042 w 12191756"/>
                <a:gd name="connsiteY183" fmla="*/ 2779043 h 4095318"/>
                <a:gd name="connsiteX184" fmla="*/ 4586593 w 12191756"/>
                <a:gd name="connsiteY184" fmla="*/ 2750711 h 4095318"/>
                <a:gd name="connsiteX185" fmla="*/ 4588970 w 12191756"/>
                <a:gd name="connsiteY185" fmla="*/ 2745105 h 4095318"/>
                <a:gd name="connsiteX186" fmla="*/ 4656358 w 12191756"/>
                <a:gd name="connsiteY186" fmla="*/ 2773437 h 4095318"/>
                <a:gd name="connsiteX187" fmla="*/ 11918000 w 12191756"/>
                <a:gd name="connsiteY187" fmla="*/ 2757657 h 4095318"/>
                <a:gd name="connsiteX188" fmla="*/ 11897894 w 12191756"/>
                <a:gd name="connsiteY188" fmla="*/ 2687344 h 4095318"/>
                <a:gd name="connsiteX189" fmla="*/ 11903987 w 12191756"/>
                <a:gd name="connsiteY189" fmla="*/ 2685638 h 4095318"/>
                <a:gd name="connsiteX190" fmla="*/ 11924154 w 12191756"/>
                <a:gd name="connsiteY190" fmla="*/ 2755950 h 4095318"/>
                <a:gd name="connsiteX191" fmla="*/ 882199 w 12191756"/>
                <a:gd name="connsiteY191" fmla="*/ 2745471 h 4095318"/>
                <a:gd name="connsiteX192" fmla="*/ 877447 w 12191756"/>
                <a:gd name="connsiteY192" fmla="*/ 2741693 h 4095318"/>
                <a:gd name="connsiteX193" fmla="*/ 923266 w 12191756"/>
                <a:gd name="connsiteY193" fmla="*/ 2684846 h 4095318"/>
                <a:gd name="connsiteX194" fmla="*/ 928018 w 12191756"/>
                <a:gd name="connsiteY194" fmla="*/ 2688684 h 4095318"/>
                <a:gd name="connsiteX195" fmla="*/ 882382 w 12191756"/>
                <a:gd name="connsiteY195" fmla="*/ 2744983 h 4095318"/>
                <a:gd name="connsiteX196" fmla="*/ 7609551 w 12191756"/>
                <a:gd name="connsiteY196" fmla="*/ 2738464 h 4095318"/>
                <a:gd name="connsiteX197" fmla="*/ 7605347 w 12191756"/>
                <a:gd name="connsiteY197" fmla="*/ 2734016 h 4095318"/>
                <a:gd name="connsiteX198" fmla="*/ 7657868 w 12191756"/>
                <a:gd name="connsiteY198" fmla="*/ 2683201 h 4095318"/>
                <a:gd name="connsiteX199" fmla="*/ 7662194 w 12191756"/>
                <a:gd name="connsiteY199" fmla="*/ 2687527 h 4095318"/>
                <a:gd name="connsiteX200" fmla="*/ 7609734 w 12191756"/>
                <a:gd name="connsiteY200" fmla="*/ 2737976 h 4095318"/>
                <a:gd name="connsiteX201" fmla="*/ 4519388 w 12191756"/>
                <a:gd name="connsiteY201" fmla="*/ 2721830 h 4095318"/>
                <a:gd name="connsiteX202" fmla="*/ 4452365 w 12191756"/>
                <a:gd name="connsiteY202" fmla="*/ 2692157 h 4095318"/>
                <a:gd name="connsiteX203" fmla="*/ 4454864 w 12191756"/>
                <a:gd name="connsiteY203" fmla="*/ 2686613 h 4095318"/>
                <a:gd name="connsiteX204" fmla="*/ 4521886 w 12191756"/>
                <a:gd name="connsiteY204" fmla="*/ 2716225 h 4095318"/>
                <a:gd name="connsiteX205" fmla="*/ 4385343 w 12191756"/>
                <a:gd name="connsiteY205" fmla="*/ 2661875 h 4095318"/>
                <a:gd name="connsiteX206" fmla="*/ 4318808 w 12191756"/>
                <a:gd name="connsiteY206" fmla="*/ 2631045 h 4095318"/>
                <a:gd name="connsiteX207" fmla="*/ 4321367 w 12191756"/>
                <a:gd name="connsiteY207" fmla="*/ 2625562 h 4095318"/>
                <a:gd name="connsiteX208" fmla="*/ 4387841 w 12191756"/>
                <a:gd name="connsiteY208" fmla="*/ 2656026 h 4095318"/>
                <a:gd name="connsiteX209" fmla="*/ 7713558 w 12191756"/>
                <a:gd name="connsiteY209" fmla="*/ 2635432 h 4095318"/>
                <a:gd name="connsiteX210" fmla="*/ 7709171 w 12191756"/>
                <a:gd name="connsiteY210" fmla="*/ 2631228 h 4095318"/>
                <a:gd name="connsiteX211" fmla="*/ 7759499 w 12191756"/>
                <a:gd name="connsiteY211" fmla="*/ 2578219 h 4095318"/>
                <a:gd name="connsiteX212" fmla="*/ 7763947 w 12191756"/>
                <a:gd name="connsiteY212" fmla="*/ 2582362 h 4095318"/>
                <a:gd name="connsiteX213" fmla="*/ 7713862 w 12191756"/>
                <a:gd name="connsiteY213" fmla="*/ 2634945 h 4095318"/>
                <a:gd name="connsiteX214" fmla="*/ 974751 w 12191756"/>
                <a:gd name="connsiteY214" fmla="*/ 2632325 h 4095318"/>
                <a:gd name="connsiteX215" fmla="*/ 970060 w 12191756"/>
                <a:gd name="connsiteY215" fmla="*/ 2628425 h 4095318"/>
                <a:gd name="connsiteX216" fmla="*/ 1017463 w 12191756"/>
                <a:gd name="connsiteY216" fmla="*/ 2572431 h 4095318"/>
                <a:gd name="connsiteX217" fmla="*/ 1022093 w 12191756"/>
                <a:gd name="connsiteY217" fmla="*/ 2576391 h 4095318"/>
                <a:gd name="connsiteX218" fmla="*/ 974751 w 12191756"/>
                <a:gd name="connsiteY218" fmla="*/ 2631837 h 4095318"/>
                <a:gd name="connsiteX219" fmla="*/ 11877483 w 12191756"/>
                <a:gd name="connsiteY219" fmla="*/ 2617214 h 4095318"/>
                <a:gd name="connsiteX220" fmla="*/ 11856583 w 12191756"/>
                <a:gd name="connsiteY220" fmla="*/ 2547206 h 4095318"/>
                <a:gd name="connsiteX221" fmla="*/ 11862676 w 12191756"/>
                <a:gd name="connsiteY221" fmla="*/ 2545439 h 4095318"/>
                <a:gd name="connsiteX222" fmla="*/ 11883636 w 12191756"/>
                <a:gd name="connsiteY222" fmla="*/ 2615508 h 4095318"/>
                <a:gd name="connsiteX223" fmla="*/ 4252882 w 12191756"/>
                <a:gd name="connsiteY223" fmla="*/ 2599179 h 4095318"/>
                <a:gd name="connsiteX224" fmla="*/ 4187017 w 12191756"/>
                <a:gd name="connsiteY224" fmla="*/ 2567191 h 4095318"/>
                <a:gd name="connsiteX225" fmla="*/ 4189698 w 12191756"/>
                <a:gd name="connsiteY225" fmla="*/ 2561768 h 4095318"/>
                <a:gd name="connsiteX226" fmla="*/ 4255502 w 12191756"/>
                <a:gd name="connsiteY226" fmla="*/ 2593695 h 4095318"/>
                <a:gd name="connsiteX227" fmla="*/ 4121579 w 12191756"/>
                <a:gd name="connsiteY227" fmla="*/ 2534654 h 4095318"/>
                <a:gd name="connsiteX228" fmla="*/ 4056263 w 12191756"/>
                <a:gd name="connsiteY228" fmla="*/ 2501631 h 4095318"/>
                <a:gd name="connsiteX229" fmla="*/ 4059065 w 12191756"/>
                <a:gd name="connsiteY229" fmla="*/ 2496208 h 4095318"/>
                <a:gd name="connsiteX230" fmla="*/ 4124260 w 12191756"/>
                <a:gd name="connsiteY230" fmla="*/ 2529232 h 4095318"/>
                <a:gd name="connsiteX231" fmla="*/ 7813909 w 12191756"/>
                <a:gd name="connsiteY231" fmla="*/ 2527952 h 4095318"/>
                <a:gd name="connsiteX232" fmla="*/ 7809400 w 12191756"/>
                <a:gd name="connsiteY232" fmla="*/ 2523870 h 4095318"/>
                <a:gd name="connsiteX233" fmla="*/ 7858144 w 12191756"/>
                <a:gd name="connsiteY233" fmla="*/ 2469034 h 4095318"/>
                <a:gd name="connsiteX234" fmla="*/ 7862775 w 12191756"/>
                <a:gd name="connsiteY234" fmla="*/ 2473055 h 4095318"/>
                <a:gd name="connsiteX235" fmla="*/ 7813909 w 12191756"/>
                <a:gd name="connsiteY235" fmla="*/ 2527952 h 4095318"/>
                <a:gd name="connsiteX236" fmla="*/ 1070228 w 12191756"/>
                <a:gd name="connsiteY236" fmla="*/ 2520702 h 4095318"/>
                <a:gd name="connsiteX237" fmla="*/ 1065658 w 12191756"/>
                <a:gd name="connsiteY237" fmla="*/ 2516680 h 4095318"/>
                <a:gd name="connsiteX238" fmla="*/ 1114402 w 12191756"/>
                <a:gd name="connsiteY238" fmla="*/ 2461844 h 4095318"/>
                <a:gd name="connsiteX239" fmla="*/ 1118911 w 12191756"/>
                <a:gd name="connsiteY239" fmla="*/ 2465987 h 4095318"/>
                <a:gd name="connsiteX240" fmla="*/ 1070228 w 12191756"/>
                <a:gd name="connsiteY240" fmla="*/ 2520702 h 4095318"/>
                <a:gd name="connsiteX241" fmla="*/ 11835258 w 12191756"/>
                <a:gd name="connsiteY241" fmla="*/ 2476832 h 4095318"/>
                <a:gd name="connsiteX242" fmla="*/ 11813446 w 12191756"/>
                <a:gd name="connsiteY242" fmla="*/ 2407007 h 4095318"/>
                <a:gd name="connsiteX243" fmla="*/ 11819234 w 12191756"/>
                <a:gd name="connsiteY243" fmla="*/ 2405179 h 4095318"/>
                <a:gd name="connsiteX244" fmla="*/ 11841046 w 12191756"/>
                <a:gd name="connsiteY244" fmla="*/ 2475004 h 4095318"/>
                <a:gd name="connsiteX245" fmla="*/ 3991251 w 12191756"/>
                <a:gd name="connsiteY245" fmla="*/ 2467997 h 4095318"/>
                <a:gd name="connsiteX246" fmla="*/ 3926604 w 12191756"/>
                <a:gd name="connsiteY246" fmla="*/ 2433816 h 4095318"/>
                <a:gd name="connsiteX247" fmla="*/ 3929468 w 12191756"/>
                <a:gd name="connsiteY247" fmla="*/ 2428454 h 4095318"/>
                <a:gd name="connsiteX248" fmla="*/ 3994054 w 12191756"/>
                <a:gd name="connsiteY248" fmla="*/ 2462575 h 4095318"/>
                <a:gd name="connsiteX249" fmla="*/ 7910117 w 12191756"/>
                <a:gd name="connsiteY249" fmla="*/ 2417670 h 4095318"/>
                <a:gd name="connsiteX250" fmla="*/ 7905486 w 12191756"/>
                <a:gd name="connsiteY250" fmla="*/ 2413770 h 4095318"/>
                <a:gd name="connsiteX251" fmla="*/ 7952463 w 12191756"/>
                <a:gd name="connsiteY251" fmla="*/ 2357715 h 4095318"/>
                <a:gd name="connsiteX252" fmla="*/ 7957154 w 12191756"/>
                <a:gd name="connsiteY252" fmla="*/ 2361615 h 4095318"/>
                <a:gd name="connsiteX253" fmla="*/ 7910117 w 12191756"/>
                <a:gd name="connsiteY253" fmla="*/ 2417670 h 4095318"/>
                <a:gd name="connsiteX254" fmla="*/ 1168446 w 12191756"/>
                <a:gd name="connsiteY254" fmla="*/ 2412125 h 4095318"/>
                <a:gd name="connsiteX255" fmla="*/ 1163998 w 12191756"/>
                <a:gd name="connsiteY255" fmla="*/ 2407982 h 4095318"/>
                <a:gd name="connsiteX256" fmla="*/ 1214387 w 12191756"/>
                <a:gd name="connsiteY256" fmla="*/ 2354791 h 4095318"/>
                <a:gd name="connsiteX257" fmla="*/ 1218774 w 12191756"/>
                <a:gd name="connsiteY257" fmla="*/ 2359055 h 4095318"/>
                <a:gd name="connsiteX258" fmla="*/ 1168446 w 12191756"/>
                <a:gd name="connsiteY258" fmla="*/ 2412125 h 4095318"/>
                <a:gd name="connsiteX259" fmla="*/ 3862324 w 12191756"/>
                <a:gd name="connsiteY259" fmla="*/ 2398843 h 4095318"/>
                <a:gd name="connsiteX260" fmla="*/ 3798409 w 12191756"/>
                <a:gd name="connsiteY260" fmla="*/ 2363625 h 4095318"/>
                <a:gd name="connsiteX261" fmla="*/ 3801394 w 12191756"/>
                <a:gd name="connsiteY261" fmla="*/ 2358264 h 4095318"/>
                <a:gd name="connsiteX262" fmla="*/ 3865248 w 12191756"/>
                <a:gd name="connsiteY262" fmla="*/ 2393542 h 4095318"/>
                <a:gd name="connsiteX263" fmla="*/ 11791084 w 12191756"/>
                <a:gd name="connsiteY263" fmla="*/ 2337121 h 4095318"/>
                <a:gd name="connsiteX264" fmla="*/ 11768418 w 12191756"/>
                <a:gd name="connsiteY264" fmla="*/ 2267661 h 4095318"/>
                <a:gd name="connsiteX265" fmla="*/ 11774511 w 12191756"/>
                <a:gd name="connsiteY265" fmla="*/ 2265712 h 4095318"/>
                <a:gd name="connsiteX266" fmla="*/ 11797238 w 12191756"/>
                <a:gd name="connsiteY266" fmla="*/ 2335293 h 4095318"/>
                <a:gd name="connsiteX267" fmla="*/ 3734798 w 12191756"/>
                <a:gd name="connsiteY267" fmla="*/ 2328042 h 4095318"/>
                <a:gd name="connsiteX268" fmla="*/ 3671554 w 12191756"/>
                <a:gd name="connsiteY268" fmla="*/ 2291485 h 4095318"/>
                <a:gd name="connsiteX269" fmla="*/ 3674661 w 12191756"/>
                <a:gd name="connsiteY269" fmla="*/ 2286245 h 4095318"/>
                <a:gd name="connsiteX270" fmla="*/ 3737845 w 12191756"/>
                <a:gd name="connsiteY270" fmla="*/ 2322803 h 4095318"/>
                <a:gd name="connsiteX271" fmla="*/ 1270077 w 12191756"/>
                <a:gd name="connsiteY271" fmla="*/ 2306778 h 4095318"/>
                <a:gd name="connsiteX272" fmla="*/ 1265812 w 12191756"/>
                <a:gd name="connsiteY272" fmla="*/ 2302452 h 4095318"/>
                <a:gd name="connsiteX273" fmla="*/ 1317906 w 12191756"/>
                <a:gd name="connsiteY273" fmla="*/ 2251027 h 4095318"/>
                <a:gd name="connsiteX274" fmla="*/ 1322110 w 12191756"/>
                <a:gd name="connsiteY274" fmla="*/ 2255415 h 4095318"/>
                <a:gd name="connsiteX275" fmla="*/ 1270077 w 12191756"/>
                <a:gd name="connsiteY275" fmla="*/ 2306778 h 4095318"/>
                <a:gd name="connsiteX276" fmla="*/ 8003705 w 12191756"/>
                <a:gd name="connsiteY276" fmla="*/ 2304950 h 4095318"/>
                <a:gd name="connsiteX277" fmla="*/ 7998952 w 12191756"/>
                <a:gd name="connsiteY277" fmla="*/ 2301112 h 4095318"/>
                <a:gd name="connsiteX278" fmla="*/ 8044649 w 12191756"/>
                <a:gd name="connsiteY278" fmla="*/ 2243960 h 4095318"/>
                <a:gd name="connsiteX279" fmla="*/ 8049402 w 12191756"/>
                <a:gd name="connsiteY279" fmla="*/ 2247798 h 4095318"/>
                <a:gd name="connsiteX280" fmla="*/ 8003522 w 12191756"/>
                <a:gd name="connsiteY280" fmla="*/ 2304950 h 4095318"/>
                <a:gd name="connsiteX281" fmla="*/ 3608674 w 12191756"/>
                <a:gd name="connsiteY281" fmla="*/ 2254744 h 4095318"/>
                <a:gd name="connsiteX282" fmla="*/ 3545856 w 12191756"/>
                <a:gd name="connsiteY282" fmla="*/ 2217151 h 4095318"/>
                <a:gd name="connsiteX283" fmla="*/ 3549024 w 12191756"/>
                <a:gd name="connsiteY283" fmla="*/ 2211911 h 4095318"/>
                <a:gd name="connsiteX284" fmla="*/ 3611721 w 12191756"/>
                <a:gd name="connsiteY284" fmla="*/ 2249504 h 4095318"/>
                <a:gd name="connsiteX285" fmla="*/ 1375119 w 12191756"/>
                <a:gd name="connsiteY285" fmla="*/ 2205026 h 4095318"/>
                <a:gd name="connsiteX286" fmla="*/ 1370976 w 12191756"/>
                <a:gd name="connsiteY286" fmla="*/ 2200578 h 4095318"/>
                <a:gd name="connsiteX287" fmla="*/ 1425020 w 12191756"/>
                <a:gd name="connsiteY287" fmla="*/ 2151103 h 4095318"/>
                <a:gd name="connsiteX288" fmla="*/ 1429042 w 12191756"/>
                <a:gd name="connsiteY288" fmla="*/ 2155673 h 4095318"/>
                <a:gd name="connsiteX289" fmla="*/ 1374936 w 12191756"/>
                <a:gd name="connsiteY289" fmla="*/ 2205026 h 4095318"/>
                <a:gd name="connsiteX290" fmla="*/ 11745326 w 12191756"/>
                <a:gd name="connsiteY290" fmla="*/ 2198567 h 4095318"/>
                <a:gd name="connsiteX291" fmla="*/ 11721685 w 12191756"/>
                <a:gd name="connsiteY291" fmla="*/ 2129412 h 4095318"/>
                <a:gd name="connsiteX292" fmla="*/ 11727778 w 12191756"/>
                <a:gd name="connsiteY292" fmla="*/ 2127402 h 4095318"/>
                <a:gd name="connsiteX293" fmla="*/ 11751419 w 12191756"/>
                <a:gd name="connsiteY293" fmla="*/ 2196617 h 4095318"/>
                <a:gd name="connsiteX294" fmla="*/ 8094185 w 12191756"/>
                <a:gd name="connsiteY294" fmla="*/ 2190159 h 4095318"/>
                <a:gd name="connsiteX295" fmla="*/ 8089371 w 12191756"/>
                <a:gd name="connsiteY295" fmla="*/ 2186442 h 4095318"/>
                <a:gd name="connsiteX296" fmla="*/ 8133972 w 12191756"/>
                <a:gd name="connsiteY296" fmla="*/ 2128437 h 4095318"/>
                <a:gd name="connsiteX297" fmla="*/ 8138785 w 12191756"/>
                <a:gd name="connsiteY297" fmla="*/ 2132154 h 4095318"/>
                <a:gd name="connsiteX298" fmla="*/ 8094185 w 12191756"/>
                <a:gd name="connsiteY298" fmla="*/ 2190159 h 4095318"/>
                <a:gd name="connsiteX299" fmla="*/ 3482977 w 12191756"/>
                <a:gd name="connsiteY299" fmla="*/ 2179009 h 4095318"/>
                <a:gd name="connsiteX300" fmla="*/ 3420950 w 12191756"/>
                <a:gd name="connsiteY300" fmla="*/ 2140258 h 4095318"/>
                <a:gd name="connsiteX301" fmla="*/ 3424179 w 12191756"/>
                <a:gd name="connsiteY301" fmla="*/ 2135139 h 4095318"/>
                <a:gd name="connsiteX302" fmla="*/ 3486206 w 12191756"/>
                <a:gd name="connsiteY302" fmla="*/ 2173830 h 4095318"/>
                <a:gd name="connsiteX303" fmla="*/ 1483878 w 12191756"/>
                <a:gd name="connsiteY303" fmla="*/ 2107477 h 4095318"/>
                <a:gd name="connsiteX304" fmla="*/ 1479918 w 12191756"/>
                <a:gd name="connsiteY304" fmla="*/ 2102847 h 4095318"/>
                <a:gd name="connsiteX305" fmla="*/ 1536034 w 12191756"/>
                <a:gd name="connsiteY305" fmla="*/ 2055870 h 4095318"/>
                <a:gd name="connsiteX306" fmla="*/ 1539934 w 12191756"/>
                <a:gd name="connsiteY306" fmla="*/ 2060562 h 4095318"/>
                <a:gd name="connsiteX307" fmla="*/ 1483878 w 12191756"/>
                <a:gd name="connsiteY307" fmla="*/ 2107477 h 4095318"/>
                <a:gd name="connsiteX308" fmla="*/ 3359472 w 12191756"/>
                <a:gd name="connsiteY308" fmla="*/ 2100958 h 4095318"/>
                <a:gd name="connsiteX309" fmla="*/ 3298116 w 12191756"/>
                <a:gd name="connsiteY309" fmla="*/ 2061049 h 4095318"/>
                <a:gd name="connsiteX310" fmla="*/ 3301468 w 12191756"/>
                <a:gd name="connsiteY310" fmla="*/ 2055992 h 4095318"/>
                <a:gd name="connsiteX311" fmla="*/ 3362763 w 12191756"/>
                <a:gd name="connsiteY311" fmla="*/ 2095840 h 4095318"/>
                <a:gd name="connsiteX312" fmla="*/ 8183203 w 12191756"/>
                <a:gd name="connsiteY312" fmla="*/ 2073784 h 4095318"/>
                <a:gd name="connsiteX313" fmla="*/ 8178329 w 12191756"/>
                <a:gd name="connsiteY313" fmla="*/ 2070128 h 4095318"/>
                <a:gd name="connsiteX314" fmla="*/ 8222076 w 12191756"/>
                <a:gd name="connsiteY314" fmla="*/ 2011513 h 4095318"/>
                <a:gd name="connsiteX315" fmla="*/ 8226951 w 12191756"/>
                <a:gd name="connsiteY315" fmla="*/ 2015108 h 4095318"/>
                <a:gd name="connsiteX316" fmla="*/ 8183203 w 12191756"/>
                <a:gd name="connsiteY316" fmla="*/ 2073784 h 4095318"/>
                <a:gd name="connsiteX317" fmla="*/ 11697374 w 12191756"/>
                <a:gd name="connsiteY317" fmla="*/ 2060379 h 4095318"/>
                <a:gd name="connsiteX318" fmla="*/ 11673003 w 12191756"/>
                <a:gd name="connsiteY318" fmla="*/ 1991589 h 4095318"/>
                <a:gd name="connsiteX319" fmla="*/ 11678730 w 12191756"/>
                <a:gd name="connsiteY319" fmla="*/ 1989457 h 4095318"/>
                <a:gd name="connsiteX320" fmla="*/ 11703102 w 12191756"/>
                <a:gd name="connsiteY320" fmla="*/ 2058368 h 4095318"/>
                <a:gd name="connsiteX321" fmla="*/ 3237187 w 12191756"/>
                <a:gd name="connsiteY321" fmla="*/ 2020531 h 4095318"/>
                <a:gd name="connsiteX322" fmla="*/ 3176684 w 12191756"/>
                <a:gd name="connsiteY322" fmla="*/ 1979464 h 4095318"/>
                <a:gd name="connsiteX323" fmla="*/ 3180096 w 12191756"/>
                <a:gd name="connsiteY323" fmla="*/ 1974407 h 4095318"/>
                <a:gd name="connsiteX324" fmla="*/ 3240599 w 12191756"/>
                <a:gd name="connsiteY324" fmla="*/ 2015474 h 4095318"/>
                <a:gd name="connsiteX325" fmla="*/ 1597086 w 12191756"/>
                <a:gd name="connsiteY325" fmla="*/ 2014986 h 4095318"/>
                <a:gd name="connsiteX326" fmla="*/ 1593369 w 12191756"/>
                <a:gd name="connsiteY326" fmla="*/ 2010173 h 4095318"/>
                <a:gd name="connsiteX327" fmla="*/ 1651922 w 12191756"/>
                <a:gd name="connsiteY327" fmla="*/ 1966121 h 4095318"/>
                <a:gd name="connsiteX328" fmla="*/ 1655517 w 12191756"/>
                <a:gd name="connsiteY328" fmla="*/ 1971056 h 4095318"/>
                <a:gd name="connsiteX329" fmla="*/ 1597086 w 12191756"/>
                <a:gd name="connsiteY329" fmla="*/ 2014986 h 4095318"/>
                <a:gd name="connsiteX330" fmla="*/ 8270332 w 12191756"/>
                <a:gd name="connsiteY330" fmla="*/ 1956007 h 4095318"/>
                <a:gd name="connsiteX331" fmla="*/ 8265458 w 12191756"/>
                <a:gd name="connsiteY331" fmla="*/ 1952412 h 4095318"/>
                <a:gd name="connsiteX332" fmla="*/ 8308108 w 12191756"/>
                <a:gd name="connsiteY332" fmla="*/ 1893493 h 4095318"/>
                <a:gd name="connsiteX333" fmla="*/ 8313044 w 12191756"/>
                <a:gd name="connsiteY333" fmla="*/ 1897027 h 4095318"/>
                <a:gd name="connsiteX334" fmla="*/ 8270332 w 12191756"/>
                <a:gd name="connsiteY334" fmla="*/ 1956129 h 4095318"/>
                <a:gd name="connsiteX335" fmla="*/ 3116546 w 12191756"/>
                <a:gd name="connsiteY335" fmla="*/ 1937728 h 4095318"/>
                <a:gd name="connsiteX336" fmla="*/ 3056896 w 12191756"/>
                <a:gd name="connsiteY336" fmla="*/ 1895077 h 4095318"/>
                <a:gd name="connsiteX337" fmla="*/ 3060491 w 12191756"/>
                <a:gd name="connsiteY337" fmla="*/ 1890142 h 4095318"/>
                <a:gd name="connsiteX338" fmla="*/ 3120080 w 12191756"/>
                <a:gd name="connsiteY338" fmla="*/ 1932488 h 4095318"/>
                <a:gd name="connsiteX339" fmla="*/ 1715167 w 12191756"/>
                <a:gd name="connsiteY339" fmla="*/ 1928954 h 4095318"/>
                <a:gd name="connsiteX340" fmla="*/ 1711755 w 12191756"/>
                <a:gd name="connsiteY340" fmla="*/ 1923958 h 4095318"/>
                <a:gd name="connsiteX341" fmla="*/ 1772684 w 12191756"/>
                <a:gd name="connsiteY341" fmla="*/ 1883561 h 4095318"/>
                <a:gd name="connsiteX342" fmla="*/ 1775914 w 12191756"/>
                <a:gd name="connsiteY342" fmla="*/ 1888740 h 4095318"/>
                <a:gd name="connsiteX343" fmla="*/ 1714862 w 12191756"/>
                <a:gd name="connsiteY343" fmla="*/ 1928954 h 4095318"/>
                <a:gd name="connsiteX344" fmla="*/ 11647595 w 12191756"/>
                <a:gd name="connsiteY344" fmla="*/ 1922861 h 4095318"/>
                <a:gd name="connsiteX345" fmla="*/ 11621883 w 12191756"/>
                <a:gd name="connsiteY345" fmla="*/ 1854437 h 4095318"/>
                <a:gd name="connsiteX346" fmla="*/ 11627549 w 12191756"/>
                <a:gd name="connsiteY346" fmla="*/ 1852304 h 4095318"/>
                <a:gd name="connsiteX347" fmla="*/ 11653323 w 12191756"/>
                <a:gd name="connsiteY347" fmla="*/ 1920729 h 4095318"/>
                <a:gd name="connsiteX348" fmla="*/ 2997734 w 12191756"/>
                <a:gd name="connsiteY348" fmla="*/ 1852304 h 4095318"/>
                <a:gd name="connsiteX349" fmla="*/ 2990300 w 12191756"/>
                <a:gd name="connsiteY349" fmla="*/ 1846821 h 4095318"/>
                <a:gd name="connsiteX350" fmla="*/ 2937962 w 12191756"/>
                <a:gd name="connsiteY350" fmla="*/ 1810263 h 4095318"/>
                <a:gd name="connsiteX351" fmla="*/ 2941313 w 12191756"/>
                <a:gd name="connsiteY351" fmla="*/ 1805145 h 4095318"/>
                <a:gd name="connsiteX352" fmla="*/ 2993895 w 12191756"/>
                <a:gd name="connsiteY352" fmla="*/ 1841703 h 4095318"/>
                <a:gd name="connsiteX353" fmla="*/ 3001329 w 12191756"/>
                <a:gd name="connsiteY353" fmla="*/ 1847186 h 4095318"/>
                <a:gd name="connsiteX354" fmla="*/ 1838306 w 12191756"/>
                <a:gd name="connsiteY354" fmla="*/ 1850477 h 4095318"/>
                <a:gd name="connsiteX355" fmla="*/ 1835259 w 12191756"/>
                <a:gd name="connsiteY355" fmla="*/ 1845176 h 4095318"/>
                <a:gd name="connsiteX356" fmla="*/ 1899113 w 12191756"/>
                <a:gd name="connsiteY356" fmla="*/ 1809410 h 4095318"/>
                <a:gd name="connsiteX357" fmla="*/ 1901977 w 12191756"/>
                <a:gd name="connsiteY357" fmla="*/ 1814772 h 4095318"/>
                <a:gd name="connsiteX358" fmla="*/ 1838306 w 12191756"/>
                <a:gd name="connsiteY358" fmla="*/ 1850477 h 4095318"/>
                <a:gd name="connsiteX359" fmla="*/ 8356182 w 12191756"/>
                <a:gd name="connsiteY359" fmla="*/ 1837864 h 4095318"/>
                <a:gd name="connsiteX360" fmla="*/ 8351246 w 12191756"/>
                <a:gd name="connsiteY360" fmla="*/ 1834330 h 4095318"/>
                <a:gd name="connsiteX361" fmla="*/ 8393897 w 12191756"/>
                <a:gd name="connsiteY361" fmla="*/ 1774802 h 4095318"/>
                <a:gd name="connsiteX362" fmla="*/ 8398893 w 12191756"/>
                <a:gd name="connsiteY362" fmla="*/ 1778336 h 4095318"/>
                <a:gd name="connsiteX363" fmla="*/ 8356182 w 12191756"/>
                <a:gd name="connsiteY363" fmla="*/ 1837864 h 4095318"/>
                <a:gd name="connsiteX364" fmla="*/ 11595805 w 12191756"/>
                <a:gd name="connsiteY364" fmla="*/ 1786318 h 4095318"/>
                <a:gd name="connsiteX365" fmla="*/ 11568935 w 12191756"/>
                <a:gd name="connsiteY365" fmla="*/ 1718320 h 4095318"/>
                <a:gd name="connsiteX366" fmla="*/ 11574601 w 12191756"/>
                <a:gd name="connsiteY366" fmla="*/ 1716066 h 4095318"/>
                <a:gd name="connsiteX367" fmla="*/ 11601471 w 12191756"/>
                <a:gd name="connsiteY367" fmla="*/ 1784063 h 4095318"/>
                <a:gd name="connsiteX368" fmla="*/ 1967415 w 12191756"/>
                <a:gd name="connsiteY368" fmla="*/ 1782053 h 4095318"/>
                <a:gd name="connsiteX369" fmla="*/ 1964795 w 12191756"/>
                <a:gd name="connsiteY369" fmla="*/ 1776569 h 4095318"/>
                <a:gd name="connsiteX370" fmla="*/ 2031818 w 12191756"/>
                <a:gd name="connsiteY370" fmla="*/ 1746592 h 4095318"/>
                <a:gd name="connsiteX371" fmla="*/ 2034133 w 12191756"/>
                <a:gd name="connsiteY371" fmla="*/ 1752197 h 4095318"/>
                <a:gd name="connsiteX372" fmla="*/ 1967111 w 12191756"/>
                <a:gd name="connsiteY372" fmla="*/ 1782053 h 4095318"/>
                <a:gd name="connsiteX373" fmla="*/ 2875875 w 12191756"/>
                <a:gd name="connsiteY373" fmla="*/ 1772913 h 4095318"/>
                <a:gd name="connsiteX374" fmla="*/ 2810863 w 12191756"/>
                <a:gd name="connsiteY374" fmla="*/ 1740011 h 4095318"/>
                <a:gd name="connsiteX375" fmla="*/ 2813422 w 12191756"/>
                <a:gd name="connsiteY375" fmla="*/ 1734467 h 4095318"/>
                <a:gd name="connsiteX376" fmla="*/ 2878799 w 12191756"/>
                <a:gd name="connsiteY376" fmla="*/ 1767552 h 4095318"/>
                <a:gd name="connsiteX377" fmla="*/ 2102069 w 12191756"/>
                <a:gd name="connsiteY377" fmla="*/ 1725815 h 4095318"/>
                <a:gd name="connsiteX378" fmla="*/ 2100059 w 12191756"/>
                <a:gd name="connsiteY378" fmla="*/ 1720087 h 4095318"/>
                <a:gd name="connsiteX379" fmla="*/ 2169579 w 12191756"/>
                <a:gd name="connsiteY379" fmla="*/ 1697483 h 4095318"/>
                <a:gd name="connsiteX380" fmla="*/ 2171347 w 12191756"/>
                <a:gd name="connsiteY380" fmla="*/ 1703576 h 4095318"/>
                <a:gd name="connsiteX381" fmla="*/ 2101521 w 12191756"/>
                <a:gd name="connsiteY381" fmla="*/ 1725815 h 4095318"/>
                <a:gd name="connsiteX382" fmla="*/ 8441178 w 12191756"/>
                <a:gd name="connsiteY382" fmla="*/ 1718503 h 4095318"/>
                <a:gd name="connsiteX383" fmla="*/ 8436182 w 12191756"/>
                <a:gd name="connsiteY383" fmla="*/ 1715030 h 4095318"/>
                <a:gd name="connsiteX384" fmla="*/ 8478346 w 12191756"/>
                <a:gd name="connsiteY384" fmla="*/ 1655015 h 4095318"/>
                <a:gd name="connsiteX385" fmla="*/ 8483341 w 12191756"/>
                <a:gd name="connsiteY385" fmla="*/ 1658488 h 4095318"/>
                <a:gd name="connsiteX386" fmla="*/ 8440630 w 12191756"/>
                <a:gd name="connsiteY386" fmla="*/ 1718503 h 4095318"/>
                <a:gd name="connsiteX387" fmla="*/ 2743718 w 12191756"/>
                <a:gd name="connsiteY387" fmla="*/ 1712410 h 4095318"/>
                <a:gd name="connsiteX388" fmla="*/ 2674259 w 12191756"/>
                <a:gd name="connsiteY388" fmla="*/ 1690476 h 4095318"/>
                <a:gd name="connsiteX389" fmla="*/ 2675843 w 12191756"/>
                <a:gd name="connsiteY389" fmla="*/ 1684383 h 4095318"/>
                <a:gd name="connsiteX390" fmla="*/ 2745790 w 12191756"/>
                <a:gd name="connsiteY390" fmla="*/ 1706439 h 4095318"/>
                <a:gd name="connsiteX391" fmla="*/ 2241781 w 12191756"/>
                <a:gd name="connsiteY391" fmla="*/ 1685236 h 4095318"/>
                <a:gd name="connsiteX392" fmla="*/ 2240441 w 12191756"/>
                <a:gd name="connsiteY392" fmla="*/ 1679143 h 4095318"/>
                <a:gd name="connsiteX393" fmla="*/ 2312337 w 12191756"/>
                <a:gd name="connsiteY393" fmla="*/ 1665677 h 4095318"/>
                <a:gd name="connsiteX394" fmla="*/ 2313251 w 12191756"/>
                <a:gd name="connsiteY394" fmla="*/ 1671770 h 4095318"/>
                <a:gd name="connsiteX395" fmla="*/ 2241233 w 12191756"/>
                <a:gd name="connsiteY395" fmla="*/ 1685175 h 4095318"/>
                <a:gd name="connsiteX396" fmla="*/ 2603215 w 12191756"/>
                <a:gd name="connsiteY396" fmla="*/ 1674573 h 4095318"/>
                <a:gd name="connsiteX397" fmla="*/ 2531074 w 12191756"/>
                <a:gd name="connsiteY397" fmla="*/ 1664824 h 4095318"/>
                <a:gd name="connsiteX398" fmla="*/ 2531623 w 12191756"/>
                <a:gd name="connsiteY398" fmla="*/ 1658731 h 4095318"/>
                <a:gd name="connsiteX399" fmla="*/ 2604312 w 12191756"/>
                <a:gd name="connsiteY399" fmla="*/ 1668541 h 4095318"/>
                <a:gd name="connsiteX400" fmla="*/ 2385087 w 12191756"/>
                <a:gd name="connsiteY400" fmla="*/ 1663667 h 4095318"/>
                <a:gd name="connsiteX401" fmla="*/ 2384600 w 12191756"/>
                <a:gd name="connsiteY401" fmla="*/ 1657574 h 4095318"/>
                <a:gd name="connsiteX402" fmla="*/ 2451622 w 12191756"/>
                <a:gd name="connsiteY402" fmla="*/ 1655076 h 4095318"/>
                <a:gd name="connsiteX403" fmla="*/ 2457715 w 12191756"/>
                <a:gd name="connsiteY403" fmla="*/ 1655076 h 4095318"/>
                <a:gd name="connsiteX404" fmla="*/ 2457715 w 12191756"/>
                <a:gd name="connsiteY404" fmla="*/ 1661169 h 4095318"/>
                <a:gd name="connsiteX405" fmla="*/ 2451622 w 12191756"/>
                <a:gd name="connsiteY405" fmla="*/ 1661169 h 4095318"/>
                <a:gd name="connsiteX406" fmla="*/ 2385087 w 12191756"/>
                <a:gd name="connsiteY406" fmla="*/ 1663667 h 4095318"/>
                <a:gd name="connsiteX407" fmla="*/ 11541212 w 12191756"/>
                <a:gd name="connsiteY407" fmla="*/ 1650567 h 4095318"/>
                <a:gd name="connsiteX408" fmla="*/ 11513124 w 12191756"/>
                <a:gd name="connsiteY408" fmla="*/ 1583118 h 4095318"/>
                <a:gd name="connsiteX409" fmla="*/ 11518729 w 12191756"/>
                <a:gd name="connsiteY409" fmla="*/ 1580742 h 4095318"/>
                <a:gd name="connsiteX410" fmla="*/ 11546879 w 12191756"/>
                <a:gd name="connsiteY410" fmla="*/ 1648251 h 4095318"/>
                <a:gd name="connsiteX411" fmla="*/ 8525200 w 12191756"/>
                <a:gd name="connsiteY411" fmla="*/ 1598289 h 4095318"/>
                <a:gd name="connsiteX412" fmla="*/ 8520204 w 12191756"/>
                <a:gd name="connsiteY412" fmla="*/ 1594816 h 4095318"/>
                <a:gd name="connsiteX413" fmla="*/ 8562002 w 12191756"/>
                <a:gd name="connsiteY413" fmla="*/ 1534740 h 4095318"/>
                <a:gd name="connsiteX414" fmla="*/ 8566998 w 12191756"/>
                <a:gd name="connsiteY414" fmla="*/ 1538213 h 4095318"/>
                <a:gd name="connsiteX415" fmla="*/ 8524895 w 12191756"/>
                <a:gd name="connsiteY415" fmla="*/ 1598289 h 4095318"/>
                <a:gd name="connsiteX416" fmla="*/ 11484608 w 12191756"/>
                <a:gd name="connsiteY416" fmla="*/ 1515913 h 4095318"/>
                <a:gd name="connsiteX417" fmla="*/ 11455180 w 12191756"/>
                <a:gd name="connsiteY417" fmla="*/ 1448890 h 4095318"/>
                <a:gd name="connsiteX418" fmla="*/ 11460724 w 12191756"/>
                <a:gd name="connsiteY418" fmla="*/ 1446392 h 4095318"/>
                <a:gd name="connsiteX419" fmla="*/ 11490153 w 12191756"/>
                <a:gd name="connsiteY419" fmla="*/ 1513414 h 4095318"/>
                <a:gd name="connsiteX420" fmla="*/ 8608734 w 12191756"/>
                <a:gd name="connsiteY420" fmla="*/ 1478136 h 4095318"/>
                <a:gd name="connsiteX421" fmla="*/ 8603738 w 12191756"/>
                <a:gd name="connsiteY421" fmla="*/ 1474663 h 4095318"/>
                <a:gd name="connsiteX422" fmla="*/ 8645414 w 12191756"/>
                <a:gd name="connsiteY422" fmla="*/ 1414526 h 4095318"/>
                <a:gd name="connsiteX423" fmla="*/ 8650472 w 12191756"/>
                <a:gd name="connsiteY423" fmla="*/ 1417999 h 4095318"/>
                <a:gd name="connsiteX424" fmla="*/ 11425020 w 12191756"/>
                <a:gd name="connsiteY424" fmla="*/ 1382416 h 4095318"/>
                <a:gd name="connsiteX425" fmla="*/ 11394128 w 12191756"/>
                <a:gd name="connsiteY425" fmla="*/ 1316186 h 4095318"/>
                <a:gd name="connsiteX426" fmla="*/ 11399612 w 12191756"/>
                <a:gd name="connsiteY426" fmla="*/ 1313566 h 4095318"/>
                <a:gd name="connsiteX427" fmla="*/ 11430564 w 12191756"/>
                <a:gd name="connsiteY427" fmla="*/ 1379857 h 4095318"/>
                <a:gd name="connsiteX428" fmla="*/ 8692147 w 12191756"/>
                <a:gd name="connsiteY428" fmla="*/ 1358044 h 4095318"/>
                <a:gd name="connsiteX429" fmla="*/ 8687150 w 12191756"/>
                <a:gd name="connsiteY429" fmla="*/ 1354571 h 4095318"/>
                <a:gd name="connsiteX430" fmla="*/ 8728888 w 12191756"/>
                <a:gd name="connsiteY430" fmla="*/ 1294495 h 4095318"/>
                <a:gd name="connsiteX431" fmla="*/ 8733884 w 12191756"/>
                <a:gd name="connsiteY431" fmla="*/ 1297968 h 4095318"/>
                <a:gd name="connsiteX432" fmla="*/ 11362445 w 12191756"/>
                <a:gd name="connsiteY432" fmla="*/ 1250503 h 4095318"/>
                <a:gd name="connsiteX433" fmla="*/ 11329969 w 12191756"/>
                <a:gd name="connsiteY433" fmla="*/ 1185004 h 4095318"/>
                <a:gd name="connsiteX434" fmla="*/ 11335392 w 12191756"/>
                <a:gd name="connsiteY434" fmla="*/ 1182262 h 4095318"/>
                <a:gd name="connsiteX435" fmla="*/ 11367929 w 12191756"/>
                <a:gd name="connsiteY435" fmla="*/ 1247823 h 4095318"/>
                <a:gd name="connsiteX436" fmla="*/ 8775681 w 12191756"/>
                <a:gd name="connsiteY436" fmla="*/ 1237891 h 4095318"/>
                <a:gd name="connsiteX437" fmla="*/ 8770685 w 12191756"/>
                <a:gd name="connsiteY437" fmla="*/ 1234418 h 4095318"/>
                <a:gd name="connsiteX438" fmla="*/ 8812666 w 12191756"/>
                <a:gd name="connsiteY438" fmla="*/ 1174463 h 4095318"/>
                <a:gd name="connsiteX439" fmla="*/ 8817601 w 12191756"/>
                <a:gd name="connsiteY439" fmla="*/ 1177936 h 4095318"/>
                <a:gd name="connsiteX440" fmla="*/ 11296641 w 12191756"/>
                <a:gd name="connsiteY440" fmla="*/ 1119932 h 4095318"/>
                <a:gd name="connsiteX441" fmla="*/ 11262398 w 12191756"/>
                <a:gd name="connsiteY441" fmla="*/ 1055407 h 4095318"/>
                <a:gd name="connsiteX442" fmla="*/ 11267760 w 12191756"/>
                <a:gd name="connsiteY442" fmla="*/ 1052482 h 4095318"/>
                <a:gd name="connsiteX443" fmla="*/ 11302003 w 12191756"/>
                <a:gd name="connsiteY443" fmla="*/ 1117129 h 4095318"/>
                <a:gd name="connsiteX444" fmla="*/ 8859459 w 12191756"/>
                <a:gd name="connsiteY444" fmla="*/ 1118104 h 4095318"/>
                <a:gd name="connsiteX445" fmla="*/ 8854524 w 12191756"/>
                <a:gd name="connsiteY445" fmla="*/ 1114570 h 4095318"/>
                <a:gd name="connsiteX446" fmla="*/ 8896809 w 12191756"/>
                <a:gd name="connsiteY446" fmla="*/ 1054859 h 4095318"/>
                <a:gd name="connsiteX447" fmla="*/ 8901806 w 12191756"/>
                <a:gd name="connsiteY447" fmla="*/ 1058393 h 4095318"/>
                <a:gd name="connsiteX448" fmla="*/ 8859398 w 12191756"/>
                <a:gd name="connsiteY448" fmla="*/ 1117921 h 4095318"/>
                <a:gd name="connsiteX449" fmla="*/ 8944335 w 12191756"/>
                <a:gd name="connsiteY449" fmla="*/ 998865 h 4095318"/>
                <a:gd name="connsiteX450" fmla="*/ 8939399 w 12191756"/>
                <a:gd name="connsiteY450" fmla="*/ 995331 h 4095318"/>
                <a:gd name="connsiteX451" fmla="*/ 8982050 w 12191756"/>
                <a:gd name="connsiteY451" fmla="*/ 935985 h 4095318"/>
                <a:gd name="connsiteX452" fmla="*/ 8986985 w 12191756"/>
                <a:gd name="connsiteY452" fmla="*/ 939580 h 4095318"/>
                <a:gd name="connsiteX453" fmla="*/ 8944274 w 12191756"/>
                <a:gd name="connsiteY453" fmla="*/ 998682 h 4095318"/>
                <a:gd name="connsiteX454" fmla="*/ 11226938 w 12191756"/>
                <a:gd name="connsiteY454" fmla="*/ 991370 h 4095318"/>
                <a:gd name="connsiteX455" fmla="*/ 11190745 w 12191756"/>
                <a:gd name="connsiteY455" fmla="*/ 927881 h 4095318"/>
                <a:gd name="connsiteX456" fmla="*/ 11196046 w 12191756"/>
                <a:gd name="connsiteY456" fmla="*/ 924835 h 4095318"/>
                <a:gd name="connsiteX457" fmla="*/ 11232239 w 12191756"/>
                <a:gd name="connsiteY457" fmla="*/ 988385 h 4095318"/>
                <a:gd name="connsiteX458" fmla="*/ 9030306 w 12191756"/>
                <a:gd name="connsiteY458" fmla="*/ 880600 h 4095318"/>
                <a:gd name="connsiteX459" fmla="*/ 9025431 w 12191756"/>
                <a:gd name="connsiteY459" fmla="*/ 877005 h 4095318"/>
                <a:gd name="connsiteX460" fmla="*/ 9069057 w 12191756"/>
                <a:gd name="connsiteY460" fmla="*/ 818208 h 4095318"/>
                <a:gd name="connsiteX461" fmla="*/ 9073932 w 12191756"/>
                <a:gd name="connsiteY461" fmla="*/ 821864 h 4095318"/>
                <a:gd name="connsiteX462" fmla="*/ 9030306 w 12191756"/>
                <a:gd name="connsiteY462" fmla="*/ 880356 h 4095318"/>
                <a:gd name="connsiteX463" fmla="*/ 11153517 w 12191756"/>
                <a:gd name="connsiteY463" fmla="*/ 865002 h 4095318"/>
                <a:gd name="connsiteX464" fmla="*/ 11115192 w 12191756"/>
                <a:gd name="connsiteY464" fmla="*/ 802854 h 4095318"/>
                <a:gd name="connsiteX465" fmla="*/ 11120311 w 12191756"/>
                <a:gd name="connsiteY465" fmla="*/ 799564 h 4095318"/>
                <a:gd name="connsiteX466" fmla="*/ 11158757 w 12191756"/>
                <a:gd name="connsiteY466" fmla="*/ 861895 h 4095318"/>
                <a:gd name="connsiteX467" fmla="*/ 9117801 w 12191756"/>
                <a:gd name="connsiteY467" fmla="*/ 763250 h 4095318"/>
                <a:gd name="connsiteX468" fmla="*/ 9112926 w 12191756"/>
                <a:gd name="connsiteY468" fmla="*/ 759594 h 4095318"/>
                <a:gd name="connsiteX469" fmla="*/ 9157649 w 12191756"/>
                <a:gd name="connsiteY469" fmla="*/ 701589 h 4095318"/>
                <a:gd name="connsiteX470" fmla="*/ 9162462 w 12191756"/>
                <a:gd name="connsiteY470" fmla="*/ 705306 h 4095318"/>
                <a:gd name="connsiteX471" fmla="*/ 9117801 w 12191756"/>
                <a:gd name="connsiteY471" fmla="*/ 763250 h 4095318"/>
                <a:gd name="connsiteX472" fmla="*/ 11075406 w 12191756"/>
                <a:gd name="connsiteY472" fmla="*/ 741132 h 4095318"/>
                <a:gd name="connsiteX473" fmla="*/ 11034583 w 12191756"/>
                <a:gd name="connsiteY473" fmla="*/ 680568 h 4095318"/>
                <a:gd name="connsiteX474" fmla="*/ 11039579 w 12191756"/>
                <a:gd name="connsiteY474" fmla="*/ 677096 h 4095318"/>
                <a:gd name="connsiteX475" fmla="*/ 11080463 w 12191756"/>
                <a:gd name="connsiteY475" fmla="*/ 738025 h 4095318"/>
                <a:gd name="connsiteX476" fmla="*/ 9207733 w 12191756"/>
                <a:gd name="connsiteY476" fmla="*/ 647910 h 4095318"/>
                <a:gd name="connsiteX477" fmla="*/ 9203102 w 12191756"/>
                <a:gd name="connsiteY477" fmla="*/ 644072 h 4095318"/>
                <a:gd name="connsiteX478" fmla="*/ 9249165 w 12191756"/>
                <a:gd name="connsiteY478" fmla="*/ 587164 h 4095318"/>
                <a:gd name="connsiteX479" fmla="*/ 9253856 w 12191756"/>
                <a:gd name="connsiteY479" fmla="*/ 591063 h 4095318"/>
                <a:gd name="connsiteX480" fmla="*/ 9207977 w 12191756"/>
                <a:gd name="connsiteY480" fmla="*/ 647910 h 4095318"/>
                <a:gd name="connsiteX481" fmla="*/ 10992420 w 12191756"/>
                <a:gd name="connsiteY481" fmla="*/ 620919 h 4095318"/>
                <a:gd name="connsiteX482" fmla="*/ 10948794 w 12191756"/>
                <a:gd name="connsiteY482" fmla="*/ 562304 h 4095318"/>
                <a:gd name="connsiteX483" fmla="*/ 10953608 w 12191756"/>
                <a:gd name="connsiteY483" fmla="*/ 558649 h 4095318"/>
                <a:gd name="connsiteX484" fmla="*/ 10997355 w 12191756"/>
                <a:gd name="connsiteY484" fmla="*/ 617324 h 4095318"/>
                <a:gd name="connsiteX485" fmla="*/ 9300589 w 12191756"/>
                <a:gd name="connsiteY485" fmla="*/ 534886 h 4095318"/>
                <a:gd name="connsiteX486" fmla="*/ 9295959 w 12191756"/>
                <a:gd name="connsiteY486" fmla="*/ 530926 h 4095318"/>
                <a:gd name="connsiteX487" fmla="*/ 9343788 w 12191756"/>
                <a:gd name="connsiteY487" fmla="*/ 475480 h 4095318"/>
                <a:gd name="connsiteX488" fmla="*/ 9348358 w 12191756"/>
                <a:gd name="connsiteY488" fmla="*/ 479501 h 4095318"/>
                <a:gd name="connsiteX489" fmla="*/ 9300589 w 12191756"/>
                <a:gd name="connsiteY489" fmla="*/ 534886 h 4095318"/>
                <a:gd name="connsiteX490" fmla="*/ 10903706 w 12191756"/>
                <a:gd name="connsiteY490" fmla="*/ 504909 h 4095318"/>
                <a:gd name="connsiteX491" fmla="*/ 10856913 w 12191756"/>
                <a:gd name="connsiteY491" fmla="*/ 448914 h 4095318"/>
                <a:gd name="connsiteX492" fmla="*/ 10861483 w 12191756"/>
                <a:gd name="connsiteY492" fmla="*/ 444954 h 4095318"/>
                <a:gd name="connsiteX493" fmla="*/ 10908459 w 12191756"/>
                <a:gd name="connsiteY493" fmla="*/ 501070 h 4095318"/>
                <a:gd name="connsiteX494" fmla="*/ 9397163 w 12191756"/>
                <a:gd name="connsiteY494" fmla="*/ 425091 h 4095318"/>
                <a:gd name="connsiteX495" fmla="*/ 9392715 w 12191756"/>
                <a:gd name="connsiteY495" fmla="*/ 421009 h 4095318"/>
                <a:gd name="connsiteX496" fmla="*/ 9442860 w 12191756"/>
                <a:gd name="connsiteY496" fmla="*/ 367573 h 4095318"/>
                <a:gd name="connsiteX497" fmla="*/ 9447246 w 12191756"/>
                <a:gd name="connsiteY497" fmla="*/ 371839 h 4095318"/>
                <a:gd name="connsiteX498" fmla="*/ 9397345 w 12191756"/>
                <a:gd name="connsiteY498" fmla="*/ 425091 h 4095318"/>
                <a:gd name="connsiteX499" fmla="*/ 10808290 w 12191756"/>
                <a:gd name="connsiteY499" fmla="*/ 394626 h 4095318"/>
                <a:gd name="connsiteX500" fmla="*/ 10757780 w 12191756"/>
                <a:gd name="connsiteY500" fmla="*/ 341922 h 4095318"/>
                <a:gd name="connsiteX501" fmla="*/ 10762106 w 12191756"/>
                <a:gd name="connsiteY501" fmla="*/ 337657 h 4095318"/>
                <a:gd name="connsiteX502" fmla="*/ 10812739 w 12191756"/>
                <a:gd name="connsiteY502" fmla="*/ 390483 h 4095318"/>
                <a:gd name="connsiteX503" fmla="*/ 9498305 w 12191756"/>
                <a:gd name="connsiteY503" fmla="*/ 320109 h 4095318"/>
                <a:gd name="connsiteX504" fmla="*/ 9494041 w 12191756"/>
                <a:gd name="connsiteY504" fmla="*/ 315722 h 4095318"/>
                <a:gd name="connsiteX505" fmla="*/ 9547171 w 12191756"/>
                <a:gd name="connsiteY505" fmla="*/ 265334 h 4095318"/>
                <a:gd name="connsiteX506" fmla="*/ 9551315 w 12191756"/>
                <a:gd name="connsiteY506" fmla="*/ 269782 h 4095318"/>
                <a:gd name="connsiteX507" fmla="*/ 9498793 w 12191756"/>
                <a:gd name="connsiteY507" fmla="*/ 319927 h 4095318"/>
                <a:gd name="connsiteX508" fmla="*/ 10704710 w 12191756"/>
                <a:gd name="connsiteY508" fmla="*/ 291351 h 4095318"/>
                <a:gd name="connsiteX509" fmla="*/ 10649874 w 12191756"/>
                <a:gd name="connsiteY509" fmla="*/ 243155 h 4095318"/>
                <a:gd name="connsiteX510" fmla="*/ 10653773 w 12191756"/>
                <a:gd name="connsiteY510" fmla="*/ 238464 h 4095318"/>
                <a:gd name="connsiteX511" fmla="*/ 10708610 w 12191756"/>
                <a:gd name="connsiteY511" fmla="*/ 286842 h 4095318"/>
                <a:gd name="connsiteX512" fmla="*/ 9605785 w 12191756"/>
                <a:gd name="connsiteY512" fmla="*/ 221525 h 4095318"/>
                <a:gd name="connsiteX513" fmla="*/ 9601886 w 12191756"/>
                <a:gd name="connsiteY513" fmla="*/ 216895 h 4095318"/>
                <a:gd name="connsiteX514" fmla="*/ 9658855 w 12191756"/>
                <a:gd name="connsiteY514" fmla="*/ 170954 h 4095318"/>
                <a:gd name="connsiteX515" fmla="*/ 9662572 w 12191756"/>
                <a:gd name="connsiteY515" fmla="*/ 175767 h 4095318"/>
                <a:gd name="connsiteX516" fmla="*/ 9606516 w 12191756"/>
                <a:gd name="connsiteY516" fmla="*/ 221343 h 4095318"/>
                <a:gd name="connsiteX517" fmla="*/ 10592844 w 12191756"/>
                <a:gd name="connsiteY517" fmla="*/ 197702 h 4095318"/>
                <a:gd name="connsiteX518" fmla="*/ 10533437 w 12191756"/>
                <a:gd name="connsiteY518" fmla="*/ 155600 h 4095318"/>
                <a:gd name="connsiteX519" fmla="*/ 10536789 w 12191756"/>
                <a:gd name="connsiteY519" fmla="*/ 150542 h 4095318"/>
                <a:gd name="connsiteX520" fmla="*/ 10596499 w 12191756"/>
                <a:gd name="connsiteY520" fmla="*/ 192828 h 4095318"/>
                <a:gd name="connsiteX521" fmla="*/ 9721551 w 12191756"/>
                <a:gd name="connsiteY521" fmla="*/ 133178 h 4095318"/>
                <a:gd name="connsiteX522" fmla="*/ 9718140 w 12191756"/>
                <a:gd name="connsiteY522" fmla="*/ 128120 h 4095318"/>
                <a:gd name="connsiteX523" fmla="*/ 9780165 w 12191756"/>
                <a:gd name="connsiteY523" fmla="*/ 89247 h 4095318"/>
                <a:gd name="connsiteX524" fmla="*/ 9783212 w 12191756"/>
                <a:gd name="connsiteY524" fmla="*/ 94487 h 4095318"/>
                <a:gd name="connsiteX525" fmla="*/ 9722343 w 12191756"/>
                <a:gd name="connsiteY525" fmla="*/ 132995 h 4095318"/>
                <a:gd name="connsiteX526" fmla="*/ 10471594 w 12191756"/>
                <a:gd name="connsiteY526" fmla="*/ 117336 h 4095318"/>
                <a:gd name="connsiteX527" fmla="*/ 10407192 w 12191756"/>
                <a:gd name="connsiteY527" fmla="*/ 83520 h 4095318"/>
                <a:gd name="connsiteX528" fmla="*/ 10409812 w 12191756"/>
                <a:gd name="connsiteY528" fmla="*/ 77975 h 4095318"/>
                <a:gd name="connsiteX529" fmla="*/ 10474580 w 12191756"/>
                <a:gd name="connsiteY529" fmla="*/ 112035 h 4095318"/>
                <a:gd name="connsiteX530" fmla="*/ 9847554 w 12191756"/>
                <a:gd name="connsiteY530" fmla="*/ 60915 h 4095318"/>
                <a:gd name="connsiteX531" fmla="*/ 9844995 w 12191756"/>
                <a:gd name="connsiteY531" fmla="*/ 55431 h 4095318"/>
                <a:gd name="connsiteX532" fmla="*/ 9912687 w 12191756"/>
                <a:gd name="connsiteY532" fmla="*/ 28074 h 4095318"/>
                <a:gd name="connsiteX533" fmla="*/ 9914637 w 12191756"/>
                <a:gd name="connsiteY533" fmla="*/ 33862 h 4095318"/>
                <a:gd name="connsiteX534" fmla="*/ 9848346 w 12191756"/>
                <a:gd name="connsiteY534" fmla="*/ 60732 h 4095318"/>
                <a:gd name="connsiteX535" fmla="*/ 10340352 w 12191756"/>
                <a:gd name="connsiteY535" fmla="*/ 54822 h 4095318"/>
                <a:gd name="connsiteX536" fmla="*/ 10271379 w 12191756"/>
                <a:gd name="connsiteY536" fmla="*/ 32156 h 4095318"/>
                <a:gd name="connsiteX537" fmla="*/ 10273025 w 12191756"/>
                <a:gd name="connsiteY537" fmla="*/ 26063 h 4095318"/>
                <a:gd name="connsiteX538" fmla="*/ 10342545 w 12191756"/>
                <a:gd name="connsiteY538" fmla="*/ 48912 h 4095318"/>
                <a:gd name="connsiteX539" fmla="*/ 10200640 w 12191756"/>
                <a:gd name="connsiteY539" fmla="*/ 16071 h 4095318"/>
                <a:gd name="connsiteX540" fmla="*/ 10128683 w 12191756"/>
                <a:gd name="connsiteY540" fmla="*/ 7236 h 4095318"/>
                <a:gd name="connsiteX541" fmla="*/ 10129109 w 12191756"/>
                <a:gd name="connsiteY541" fmla="*/ 1143 h 4095318"/>
                <a:gd name="connsiteX542" fmla="*/ 10201676 w 12191756"/>
                <a:gd name="connsiteY542" fmla="*/ 10039 h 4095318"/>
                <a:gd name="connsiteX543" fmla="*/ 9984340 w 12191756"/>
                <a:gd name="connsiteY543" fmla="*/ 14913 h 4095318"/>
                <a:gd name="connsiteX544" fmla="*/ 9983122 w 12191756"/>
                <a:gd name="connsiteY544" fmla="*/ 8820 h 4095318"/>
                <a:gd name="connsiteX545" fmla="*/ 10055872 w 12191756"/>
                <a:gd name="connsiteY545" fmla="*/ -197 h 4095318"/>
                <a:gd name="connsiteX546" fmla="*/ 10055872 w 12191756"/>
                <a:gd name="connsiteY546" fmla="*/ 5896 h 4095318"/>
                <a:gd name="connsiteX547" fmla="*/ 9985133 w 12191756"/>
                <a:gd name="connsiteY547" fmla="*/ 14791 h 409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Lst>
              <a:rect l="l" t="t" r="r" b="b"/>
              <a:pathLst>
                <a:path w="12191756" h="4095318">
                  <a:moveTo>
                    <a:pt x="5484" y="4095121"/>
                  </a:moveTo>
                  <a:lnTo>
                    <a:pt x="0" y="4092379"/>
                  </a:lnTo>
                  <a:cubicBezTo>
                    <a:pt x="0" y="4092379"/>
                    <a:pt x="12186" y="4068495"/>
                    <a:pt x="34730" y="4026819"/>
                  </a:cubicBezTo>
                  <a:lnTo>
                    <a:pt x="40092" y="4029743"/>
                  </a:lnTo>
                  <a:cubicBezTo>
                    <a:pt x="17670" y="4071358"/>
                    <a:pt x="5545" y="4094877"/>
                    <a:pt x="5484" y="4095121"/>
                  </a:cubicBezTo>
                  <a:close/>
                  <a:moveTo>
                    <a:pt x="75309" y="3965158"/>
                  </a:moveTo>
                  <a:lnTo>
                    <a:pt x="70008" y="3962234"/>
                  </a:lnTo>
                  <a:cubicBezTo>
                    <a:pt x="80732" y="3942736"/>
                    <a:pt x="92735" y="3921289"/>
                    <a:pt x="105774" y="3898075"/>
                  </a:cubicBezTo>
                  <a:lnTo>
                    <a:pt x="111075" y="3901060"/>
                  </a:lnTo>
                  <a:cubicBezTo>
                    <a:pt x="98036" y="3924274"/>
                    <a:pt x="86094" y="3945722"/>
                    <a:pt x="75309" y="3965158"/>
                  </a:cubicBezTo>
                  <a:close/>
                  <a:moveTo>
                    <a:pt x="12185664" y="3865538"/>
                  </a:moveTo>
                  <a:lnTo>
                    <a:pt x="12176890" y="3822583"/>
                  </a:lnTo>
                  <a:lnTo>
                    <a:pt x="12182983" y="3821364"/>
                  </a:lnTo>
                  <a:cubicBezTo>
                    <a:pt x="12185908" y="3835622"/>
                    <a:pt x="12189076" y="3850001"/>
                    <a:pt x="12191757" y="3864015"/>
                  </a:cubicBezTo>
                  <a:close/>
                  <a:moveTo>
                    <a:pt x="147389" y="3837328"/>
                  </a:moveTo>
                  <a:lnTo>
                    <a:pt x="142088" y="3834282"/>
                  </a:lnTo>
                  <a:cubicBezTo>
                    <a:pt x="153726" y="3814114"/>
                    <a:pt x="165973" y="3792910"/>
                    <a:pt x="178646" y="3770854"/>
                  </a:cubicBezTo>
                  <a:lnTo>
                    <a:pt x="183947" y="3773900"/>
                  </a:lnTo>
                  <a:cubicBezTo>
                    <a:pt x="171273" y="3795957"/>
                    <a:pt x="159027" y="3817161"/>
                    <a:pt x="147389" y="3837328"/>
                  </a:cubicBezTo>
                  <a:close/>
                  <a:moveTo>
                    <a:pt x="12161962" y="3751113"/>
                  </a:moveTo>
                  <a:cubicBezTo>
                    <a:pt x="12156966" y="3727228"/>
                    <a:pt x="12151909" y="3703387"/>
                    <a:pt x="12146730" y="3679582"/>
                  </a:cubicBezTo>
                  <a:lnTo>
                    <a:pt x="12152823" y="3678302"/>
                  </a:lnTo>
                  <a:cubicBezTo>
                    <a:pt x="12157941" y="3702065"/>
                    <a:pt x="12162998" y="3725906"/>
                    <a:pt x="12168055" y="3749833"/>
                  </a:cubicBezTo>
                  <a:close/>
                  <a:moveTo>
                    <a:pt x="221418" y="3710838"/>
                  </a:moveTo>
                  <a:lnTo>
                    <a:pt x="216178" y="3707670"/>
                  </a:lnTo>
                  <a:cubicBezTo>
                    <a:pt x="228364" y="3687362"/>
                    <a:pt x="240936" y="3666421"/>
                    <a:pt x="253894" y="3644852"/>
                  </a:cubicBezTo>
                  <a:lnTo>
                    <a:pt x="259073" y="3648020"/>
                  </a:lnTo>
                  <a:cubicBezTo>
                    <a:pt x="246115" y="3669467"/>
                    <a:pt x="233563" y="3690409"/>
                    <a:pt x="221418" y="3710838"/>
                  </a:cubicBezTo>
                  <a:close/>
                  <a:moveTo>
                    <a:pt x="12131192" y="3608172"/>
                  </a:moveTo>
                  <a:cubicBezTo>
                    <a:pt x="12125953" y="3584288"/>
                    <a:pt x="12120652" y="3560483"/>
                    <a:pt x="12115351" y="3536763"/>
                  </a:cubicBezTo>
                  <a:lnTo>
                    <a:pt x="12121444" y="3535422"/>
                  </a:lnTo>
                  <a:cubicBezTo>
                    <a:pt x="12126745" y="3559185"/>
                    <a:pt x="12131985" y="3582990"/>
                    <a:pt x="12137285" y="3606832"/>
                  </a:cubicBezTo>
                  <a:close/>
                  <a:moveTo>
                    <a:pt x="297276" y="3585445"/>
                  </a:moveTo>
                  <a:lnTo>
                    <a:pt x="292036" y="3582277"/>
                  </a:lnTo>
                  <a:cubicBezTo>
                    <a:pt x="304587" y="3561969"/>
                    <a:pt x="317463" y="3541210"/>
                    <a:pt x="330665" y="3520007"/>
                  </a:cubicBezTo>
                  <a:lnTo>
                    <a:pt x="335844" y="3523236"/>
                  </a:lnTo>
                  <a:cubicBezTo>
                    <a:pt x="322642" y="3544318"/>
                    <a:pt x="309786" y="3565052"/>
                    <a:pt x="297276" y="3585445"/>
                  </a:cubicBezTo>
                  <a:close/>
                  <a:moveTo>
                    <a:pt x="12099326" y="3465475"/>
                  </a:moveTo>
                  <a:cubicBezTo>
                    <a:pt x="12093904" y="3441633"/>
                    <a:pt x="12088421" y="3417889"/>
                    <a:pt x="12082815" y="3394248"/>
                  </a:cubicBezTo>
                  <a:lnTo>
                    <a:pt x="12088908" y="3392847"/>
                  </a:lnTo>
                  <a:cubicBezTo>
                    <a:pt x="12094453" y="3416530"/>
                    <a:pt x="12099997" y="3440293"/>
                    <a:pt x="12105419" y="3464135"/>
                  </a:cubicBezTo>
                  <a:close/>
                  <a:moveTo>
                    <a:pt x="374900" y="3461271"/>
                  </a:moveTo>
                  <a:lnTo>
                    <a:pt x="369782" y="3458042"/>
                  </a:lnTo>
                  <a:cubicBezTo>
                    <a:pt x="382699" y="3437734"/>
                    <a:pt x="395880" y="3417158"/>
                    <a:pt x="409325" y="3396320"/>
                  </a:cubicBezTo>
                  <a:lnTo>
                    <a:pt x="414443" y="3399671"/>
                  </a:lnTo>
                  <a:cubicBezTo>
                    <a:pt x="400978" y="3420448"/>
                    <a:pt x="387817" y="3441042"/>
                    <a:pt x="374900" y="3461271"/>
                  </a:cubicBezTo>
                  <a:close/>
                  <a:moveTo>
                    <a:pt x="454108" y="3338376"/>
                  </a:moveTo>
                  <a:lnTo>
                    <a:pt x="449051" y="3335025"/>
                  </a:lnTo>
                  <a:cubicBezTo>
                    <a:pt x="462293" y="3314717"/>
                    <a:pt x="475779" y="3294403"/>
                    <a:pt x="489508" y="3274096"/>
                  </a:cubicBezTo>
                  <a:lnTo>
                    <a:pt x="494566" y="3277447"/>
                  </a:lnTo>
                  <a:cubicBezTo>
                    <a:pt x="481080" y="3297876"/>
                    <a:pt x="467696" y="3318190"/>
                    <a:pt x="454413" y="3338376"/>
                  </a:cubicBezTo>
                  <a:close/>
                  <a:moveTo>
                    <a:pt x="12065511" y="3323144"/>
                  </a:moveTo>
                  <a:cubicBezTo>
                    <a:pt x="12059783" y="3299381"/>
                    <a:pt x="12054056" y="3275679"/>
                    <a:pt x="12048267" y="3252039"/>
                  </a:cubicBezTo>
                  <a:lnTo>
                    <a:pt x="12054360" y="3250576"/>
                  </a:lnTo>
                  <a:cubicBezTo>
                    <a:pt x="12060088" y="3274217"/>
                    <a:pt x="12065876" y="3297919"/>
                    <a:pt x="12071543" y="3321681"/>
                  </a:cubicBezTo>
                  <a:close/>
                  <a:moveTo>
                    <a:pt x="535815" y="3216700"/>
                  </a:moveTo>
                  <a:lnTo>
                    <a:pt x="530819" y="3213227"/>
                  </a:lnTo>
                  <a:cubicBezTo>
                    <a:pt x="544426" y="3193242"/>
                    <a:pt x="558237" y="3173117"/>
                    <a:pt x="572251" y="3152846"/>
                  </a:cubicBezTo>
                  <a:lnTo>
                    <a:pt x="577247" y="3156380"/>
                  </a:lnTo>
                  <a:cubicBezTo>
                    <a:pt x="563294" y="3176547"/>
                    <a:pt x="549463" y="3197020"/>
                    <a:pt x="535815" y="3216700"/>
                  </a:cubicBezTo>
                  <a:close/>
                  <a:moveTo>
                    <a:pt x="6457313" y="3209510"/>
                  </a:moveTo>
                  <a:cubicBezTo>
                    <a:pt x="6445554" y="3209510"/>
                    <a:pt x="6433733" y="3209510"/>
                    <a:pt x="6421852" y="3209510"/>
                  </a:cubicBezTo>
                  <a:lnTo>
                    <a:pt x="6421852" y="3203417"/>
                  </a:lnTo>
                  <a:cubicBezTo>
                    <a:pt x="6446467" y="3203783"/>
                    <a:pt x="6470839" y="3203783"/>
                    <a:pt x="6494967" y="3203417"/>
                  </a:cubicBezTo>
                  <a:lnTo>
                    <a:pt x="6494967" y="3209510"/>
                  </a:lnTo>
                  <a:cubicBezTo>
                    <a:pt x="6482538" y="3209309"/>
                    <a:pt x="6469987" y="3209309"/>
                    <a:pt x="6457313" y="3209510"/>
                  </a:cubicBezTo>
                  <a:close/>
                  <a:moveTo>
                    <a:pt x="6348676" y="3207195"/>
                  </a:moveTo>
                  <a:cubicBezTo>
                    <a:pt x="6324304" y="3206220"/>
                    <a:pt x="6299932" y="3204879"/>
                    <a:pt x="6275560" y="3203234"/>
                  </a:cubicBezTo>
                  <a:lnTo>
                    <a:pt x="6275925" y="3197141"/>
                  </a:lnTo>
                  <a:cubicBezTo>
                    <a:pt x="6300297" y="3198786"/>
                    <a:pt x="6324669" y="3200127"/>
                    <a:pt x="6349041" y="3201102"/>
                  </a:cubicBezTo>
                  <a:close/>
                  <a:moveTo>
                    <a:pt x="6568022" y="3207195"/>
                  </a:moveTo>
                  <a:lnTo>
                    <a:pt x="6568022" y="3201102"/>
                  </a:lnTo>
                  <a:cubicBezTo>
                    <a:pt x="6592394" y="3199944"/>
                    <a:pt x="6616766" y="3198360"/>
                    <a:pt x="6641137" y="3196349"/>
                  </a:cubicBezTo>
                  <a:lnTo>
                    <a:pt x="6641625" y="3202442"/>
                  </a:lnTo>
                  <a:cubicBezTo>
                    <a:pt x="6617375" y="3204148"/>
                    <a:pt x="6592759" y="3205732"/>
                    <a:pt x="6568205" y="3206890"/>
                  </a:cubicBezTo>
                  <a:close/>
                  <a:moveTo>
                    <a:pt x="6202445" y="3197751"/>
                  </a:moveTo>
                  <a:cubicBezTo>
                    <a:pt x="6178499" y="3195618"/>
                    <a:pt x="6154006" y="3193120"/>
                    <a:pt x="6129634" y="3190378"/>
                  </a:cubicBezTo>
                  <a:lnTo>
                    <a:pt x="6130304" y="3184285"/>
                  </a:lnTo>
                  <a:cubicBezTo>
                    <a:pt x="6154676" y="3187088"/>
                    <a:pt x="6179048" y="3189525"/>
                    <a:pt x="6202993" y="3191719"/>
                  </a:cubicBezTo>
                  <a:close/>
                  <a:moveTo>
                    <a:pt x="6714253" y="3195009"/>
                  </a:moveTo>
                  <a:lnTo>
                    <a:pt x="6713522" y="3188916"/>
                  </a:lnTo>
                  <a:cubicBezTo>
                    <a:pt x="6737894" y="3185930"/>
                    <a:pt x="6762265" y="3182457"/>
                    <a:pt x="6785784" y="3178558"/>
                  </a:cubicBezTo>
                  <a:lnTo>
                    <a:pt x="6786759" y="3184651"/>
                  </a:lnTo>
                  <a:cubicBezTo>
                    <a:pt x="6762996" y="3188246"/>
                    <a:pt x="6738625" y="3191719"/>
                    <a:pt x="6714131" y="3194704"/>
                  </a:cubicBezTo>
                  <a:close/>
                  <a:moveTo>
                    <a:pt x="6057311" y="3181422"/>
                  </a:moveTo>
                  <a:cubicBezTo>
                    <a:pt x="6033548" y="3178253"/>
                    <a:pt x="6009176" y="3174780"/>
                    <a:pt x="5984865" y="3171002"/>
                  </a:cubicBezTo>
                  <a:lnTo>
                    <a:pt x="5985779" y="3164910"/>
                  </a:lnTo>
                  <a:cubicBezTo>
                    <a:pt x="6010151" y="3168627"/>
                    <a:pt x="6034523" y="3172099"/>
                    <a:pt x="6058103" y="3175268"/>
                  </a:cubicBezTo>
                  <a:close/>
                  <a:moveTo>
                    <a:pt x="12031147" y="3181422"/>
                  </a:moveTo>
                  <a:cubicBezTo>
                    <a:pt x="12025054" y="3157659"/>
                    <a:pt x="12018961" y="3134079"/>
                    <a:pt x="12013294" y="3110499"/>
                  </a:cubicBezTo>
                  <a:lnTo>
                    <a:pt x="12019387" y="3108976"/>
                  </a:lnTo>
                  <a:cubicBezTo>
                    <a:pt x="12025358" y="3132574"/>
                    <a:pt x="12031330" y="3156215"/>
                    <a:pt x="12037301" y="3179898"/>
                  </a:cubicBezTo>
                  <a:close/>
                  <a:moveTo>
                    <a:pt x="6858777" y="3171124"/>
                  </a:moveTo>
                  <a:lnTo>
                    <a:pt x="6857498" y="3165032"/>
                  </a:lnTo>
                  <a:cubicBezTo>
                    <a:pt x="6881504" y="3159913"/>
                    <a:pt x="6905389" y="3154186"/>
                    <a:pt x="6928420" y="3148032"/>
                  </a:cubicBezTo>
                  <a:lnTo>
                    <a:pt x="6930005" y="3154125"/>
                  </a:lnTo>
                  <a:cubicBezTo>
                    <a:pt x="6906729" y="3159913"/>
                    <a:pt x="6882784" y="3165641"/>
                    <a:pt x="6858656" y="3170820"/>
                  </a:cubicBezTo>
                  <a:close/>
                  <a:moveTo>
                    <a:pt x="5912603" y="3158939"/>
                  </a:moveTo>
                  <a:cubicBezTo>
                    <a:pt x="5888901" y="3154856"/>
                    <a:pt x="5864712" y="3150469"/>
                    <a:pt x="5840584" y="3145900"/>
                  </a:cubicBezTo>
                  <a:lnTo>
                    <a:pt x="5841742" y="3139807"/>
                  </a:lnTo>
                  <a:cubicBezTo>
                    <a:pt x="5866114" y="3144376"/>
                    <a:pt x="5889998" y="3148763"/>
                    <a:pt x="5913639" y="3152846"/>
                  </a:cubicBezTo>
                  <a:close/>
                  <a:moveTo>
                    <a:pt x="7000256" y="3132922"/>
                  </a:moveTo>
                  <a:lnTo>
                    <a:pt x="6998367" y="3126829"/>
                  </a:lnTo>
                  <a:cubicBezTo>
                    <a:pt x="7016098" y="3121041"/>
                    <a:pt x="7033706" y="3114643"/>
                    <a:pt x="7050828" y="3108550"/>
                  </a:cubicBezTo>
                  <a:lnTo>
                    <a:pt x="7066913" y="3102457"/>
                  </a:lnTo>
                  <a:lnTo>
                    <a:pt x="7069167" y="3108123"/>
                  </a:lnTo>
                  <a:cubicBezTo>
                    <a:pt x="7063745" y="3110256"/>
                    <a:pt x="7058383" y="3112388"/>
                    <a:pt x="7052960" y="3114216"/>
                  </a:cubicBezTo>
                  <a:cubicBezTo>
                    <a:pt x="7035656" y="3120797"/>
                    <a:pt x="7017925" y="3127073"/>
                    <a:pt x="7000134" y="3132922"/>
                  </a:cubicBezTo>
                  <a:close/>
                  <a:moveTo>
                    <a:pt x="5768809" y="3131703"/>
                  </a:moveTo>
                  <a:cubicBezTo>
                    <a:pt x="5745108" y="3126768"/>
                    <a:pt x="5721040" y="3121589"/>
                    <a:pt x="5697278" y="3116288"/>
                  </a:cubicBezTo>
                  <a:lnTo>
                    <a:pt x="5698557" y="3110195"/>
                  </a:lnTo>
                  <a:cubicBezTo>
                    <a:pt x="5722320" y="3115496"/>
                    <a:pt x="5746387" y="3120614"/>
                    <a:pt x="5770028" y="3125549"/>
                  </a:cubicBezTo>
                  <a:close/>
                  <a:moveTo>
                    <a:pt x="5625929" y="3099837"/>
                  </a:moveTo>
                  <a:cubicBezTo>
                    <a:pt x="5602410" y="3094231"/>
                    <a:pt x="5578526" y="3088382"/>
                    <a:pt x="5554885" y="3082350"/>
                  </a:cubicBezTo>
                  <a:lnTo>
                    <a:pt x="5556409" y="3076257"/>
                  </a:lnTo>
                  <a:cubicBezTo>
                    <a:pt x="5579988" y="3082350"/>
                    <a:pt x="5603873" y="3088138"/>
                    <a:pt x="5627392" y="3093744"/>
                  </a:cubicBezTo>
                  <a:close/>
                  <a:moveTo>
                    <a:pt x="619349" y="3096364"/>
                  </a:moveTo>
                  <a:lnTo>
                    <a:pt x="614353" y="3092891"/>
                  </a:lnTo>
                  <a:cubicBezTo>
                    <a:pt x="628367" y="3073028"/>
                    <a:pt x="642582" y="3053147"/>
                    <a:pt x="657004" y="3033241"/>
                  </a:cubicBezTo>
                  <a:lnTo>
                    <a:pt x="661939" y="3036775"/>
                  </a:lnTo>
                  <a:cubicBezTo>
                    <a:pt x="647480" y="3056717"/>
                    <a:pt x="633241" y="3076580"/>
                    <a:pt x="619227" y="3096364"/>
                  </a:cubicBezTo>
                  <a:close/>
                  <a:moveTo>
                    <a:pt x="7136251" y="3078694"/>
                  </a:moveTo>
                  <a:lnTo>
                    <a:pt x="7133631" y="3073211"/>
                  </a:lnTo>
                  <a:cubicBezTo>
                    <a:pt x="7155017" y="3063036"/>
                    <a:pt x="7176890" y="3051885"/>
                    <a:pt x="7198521" y="3040126"/>
                  </a:cubicBezTo>
                  <a:lnTo>
                    <a:pt x="7201445" y="3045427"/>
                  </a:lnTo>
                  <a:cubicBezTo>
                    <a:pt x="7179572" y="3057308"/>
                    <a:pt x="7157637" y="3068519"/>
                    <a:pt x="7136129" y="3078694"/>
                  </a:cubicBezTo>
                  <a:close/>
                  <a:moveTo>
                    <a:pt x="5483963" y="3063889"/>
                  </a:moveTo>
                  <a:cubicBezTo>
                    <a:pt x="5460749" y="3057796"/>
                    <a:pt x="5436987" y="3051154"/>
                    <a:pt x="5413407" y="3044513"/>
                  </a:cubicBezTo>
                  <a:lnTo>
                    <a:pt x="5415052" y="3038420"/>
                  </a:lnTo>
                  <a:cubicBezTo>
                    <a:pt x="5438632" y="3045000"/>
                    <a:pt x="5462333" y="3051520"/>
                    <a:pt x="5485548" y="3057735"/>
                  </a:cubicBezTo>
                  <a:close/>
                  <a:moveTo>
                    <a:pt x="11994893" y="3039517"/>
                  </a:moveTo>
                  <a:cubicBezTo>
                    <a:pt x="11988739" y="3015876"/>
                    <a:pt x="11982646" y="2992315"/>
                    <a:pt x="11976614" y="2968838"/>
                  </a:cubicBezTo>
                  <a:lnTo>
                    <a:pt x="11982707" y="2967254"/>
                  </a:lnTo>
                  <a:cubicBezTo>
                    <a:pt x="11988922" y="2990730"/>
                    <a:pt x="11995137" y="3014310"/>
                    <a:pt x="12001291" y="3037994"/>
                  </a:cubicBezTo>
                  <a:close/>
                  <a:moveTo>
                    <a:pt x="5343094" y="3024223"/>
                  </a:moveTo>
                  <a:cubicBezTo>
                    <a:pt x="5319819" y="3017338"/>
                    <a:pt x="5296239" y="3010210"/>
                    <a:pt x="5273025" y="3003081"/>
                  </a:cubicBezTo>
                  <a:lnTo>
                    <a:pt x="5274854" y="2996988"/>
                  </a:lnTo>
                  <a:cubicBezTo>
                    <a:pt x="5298007" y="3004117"/>
                    <a:pt x="5321586" y="3011245"/>
                    <a:pt x="5344801" y="3018130"/>
                  </a:cubicBezTo>
                  <a:close/>
                  <a:moveTo>
                    <a:pt x="7264690" y="3008747"/>
                  </a:moveTo>
                  <a:lnTo>
                    <a:pt x="7261461" y="3003507"/>
                  </a:lnTo>
                  <a:cubicBezTo>
                    <a:pt x="7281751" y="2991321"/>
                    <a:pt x="7302345" y="2977795"/>
                    <a:pt x="7322817" y="2963964"/>
                  </a:cubicBezTo>
                  <a:lnTo>
                    <a:pt x="7326229" y="2969021"/>
                  </a:lnTo>
                  <a:cubicBezTo>
                    <a:pt x="7305695" y="2982913"/>
                    <a:pt x="7284979" y="2996257"/>
                    <a:pt x="7264690" y="3008747"/>
                  </a:cubicBezTo>
                  <a:close/>
                  <a:moveTo>
                    <a:pt x="5203261" y="2981085"/>
                  </a:moveTo>
                  <a:cubicBezTo>
                    <a:pt x="5180108" y="2973652"/>
                    <a:pt x="5156936" y="2966054"/>
                    <a:pt x="5133741" y="2958298"/>
                  </a:cubicBezTo>
                  <a:lnTo>
                    <a:pt x="5135629" y="2952205"/>
                  </a:lnTo>
                  <a:cubicBezTo>
                    <a:pt x="5158862" y="2959924"/>
                    <a:pt x="5182039" y="2967516"/>
                    <a:pt x="5205150" y="2974992"/>
                  </a:cubicBezTo>
                  <a:close/>
                  <a:moveTo>
                    <a:pt x="704711" y="2977673"/>
                  </a:moveTo>
                  <a:lnTo>
                    <a:pt x="699776" y="2974078"/>
                  </a:lnTo>
                  <a:cubicBezTo>
                    <a:pt x="714156" y="2954459"/>
                    <a:pt x="728675" y="2934840"/>
                    <a:pt x="743341" y="2915220"/>
                  </a:cubicBezTo>
                  <a:lnTo>
                    <a:pt x="748215" y="2918876"/>
                  </a:lnTo>
                  <a:cubicBezTo>
                    <a:pt x="733897" y="2938374"/>
                    <a:pt x="719030" y="2957993"/>
                    <a:pt x="704711" y="2977673"/>
                  </a:cubicBezTo>
                  <a:close/>
                  <a:moveTo>
                    <a:pt x="5064464" y="2935022"/>
                  </a:moveTo>
                  <a:cubicBezTo>
                    <a:pt x="5041493" y="2927041"/>
                    <a:pt x="5018462" y="2918998"/>
                    <a:pt x="4995430" y="2910651"/>
                  </a:cubicBezTo>
                  <a:lnTo>
                    <a:pt x="4997502" y="2904923"/>
                  </a:lnTo>
                  <a:cubicBezTo>
                    <a:pt x="5020473" y="2913149"/>
                    <a:pt x="5043504" y="2921252"/>
                    <a:pt x="5066413" y="2929295"/>
                  </a:cubicBezTo>
                  <a:close/>
                  <a:moveTo>
                    <a:pt x="7385879" y="2926980"/>
                  </a:moveTo>
                  <a:lnTo>
                    <a:pt x="7382284" y="2922105"/>
                  </a:lnTo>
                  <a:cubicBezTo>
                    <a:pt x="7401355" y="2908031"/>
                    <a:pt x="7420852" y="2893103"/>
                    <a:pt x="7440228" y="2877688"/>
                  </a:cubicBezTo>
                  <a:lnTo>
                    <a:pt x="7444006" y="2882501"/>
                  </a:lnTo>
                  <a:cubicBezTo>
                    <a:pt x="7424691" y="2897673"/>
                    <a:pt x="7405133" y="2912661"/>
                    <a:pt x="7386001" y="2926736"/>
                  </a:cubicBezTo>
                  <a:close/>
                  <a:moveTo>
                    <a:pt x="11957178" y="2898343"/>
                  </a:moveTo>
                  <a:cubicBezTo>
                    <a:pt x="11950780" y="2874745"/>
                    <a:pt x="11944322" y="2851244"/>
                    <a:pt x="11937802" y="2827847"/>
                  </a:cubicBezTo>
                  <a:lnTo>
                    <a:pt x="11943895" y="2826202"/>
                  </a:lnTo>
                  <a:cubicBezTo>
                    <a:pt x="11950354" y="2849599"/>
                    <a:pt x="11956812" y="2873118"/>
                    <a:pt x="11963271" y="2896759"/>
                  </a:cubicBezTo>
                  <a:close/>
                  <a:moveTo>
                    <a:pt x="4926519" y="2885730"/>
                  </a:moveTo>
                  <a:cubicBezTo>
                    <a:pt x="4903732" y="2877322"/>
                    <a:pt x="4880901" y="2868749"/>
                    <a:pt x="4858034" y="2860018"/>
                  </a:cubicBezTo>
                  <a:lnTo>
                    <a:pt x="4860228" y="2854352"/>
                  </a:lnTo>
                  <a:cubicBezTo>
                    <a:pt x="4883015" y="2863004"/>
                    <a:pt x="4905822" y="2871552"/>
                    <a:pt x="4928652" y="2880003"/>
                  </a:cubicBezTo>
                  <a:close/>
                  <a:moveTo>
                    <a:pt x="792206" y="2860627"/>
                  </a:moveTo>
                  <a:lnTo>
                    <a:pt x="787393" y="2856911"/>
                  </a:lnTo>
                  <a:cubicBezTo>
                    <a:pt x="802138" y="2837614"/>
                    <a:pt x="817047" y="2818300"/>
                    <a:pt x="832115" y="2798967"/>
                  </a:cubicBezTo>
                  <a:lnTo>
                    <a:pt x="836929" y="2802684"/>
                  </a:lnTo>
                  <a:cubicBezTo>
                    <a:pt x="821983" y="2821858"/>
                    <a:pt x="807116" y="2841087"/>
                    <a:pt x="792328" y="2860384"/>
                  </a:cubicBezTo>
                  <a:close/>
                  <a:moveTo>
                    <a:pt x="7500548" y="2836256"/>
                  </a:moveTo>
                  <a:lnTo>
                    <a:pt x="7497075" y="2831442"/>
                  </a:lnTo>
                  <a:cubicBezTo>
                    <a:pt x="7515354" y="2816088"/>
                    <a:pt x="7533633" y="2799942"/>
                    <a:pt x="7551912" y="2783369"/>
                  </a:cubicBezTo>
                  <a:lnTo>
                    <a:pt x="7555994" y="2787938"/>
                  </a:lnTo>
                  <a:cubicBezTo>
                    <a:pt x="7537472" y="2804207"/>
                    <a:pt x="7518888" y="2820414"/>
                    <a:pt x="7500731" y="2835768"/>
                  </a:cubicBezTo>
                  <a:close/>
                  <a:moveTo>
                    <a:pt x="4789732" y="2833880"/>
                  </a:moveTo>
                  <a:cubicBezTo>
                    <a:pt x="4767067" y="2824984"/>
                    <a:pt x="4744401" y="2815966"/>
                    <a:pt x="4721735" y="2806827"/>
                  </a:cubicBezTo>
                  <a:lnTo>
                    <a:pt x="4724050" y="2801160"/>
                  </a:lnTo>
                  <a:cubicBezTo>
                    <a:pt x="4746674" y="2810300"/>
                    <a:pt x="4769321" y="2819317"/>
                    <a:pt x="4791987" y="2828213"/>
                  </a:cubicBezTo>
                  <a:close/>
                  <a:moveTo>
                    <a:pt x="4654042" y="2779043"/>
                  </a:moveTo>
                  <a:cubicBezTo>
                    <a:pt x="4631578" y="2769702"/>
                    <a:pt x="4609095" y="2760258"/>
                    <a:pt x="4586593" y="2750711"/>
                  </a:cubicBezTo>
                  <a:lnTo>
                    <a:pt x="4588970" y="2745105"/>
                  </a:lnTo>
                  <a:cubicBezTo>
                    <a:pt x="4611434" y="2754689"/>
                    <a:pt x="4633893" y="2764133"/>
                    <a:pt x="4656358" y="2773437"/>
                  </a:cubicBezTo>
                  <a:close/>
                  <a:moveTo>
                    <a:pt x="11918000" y="2757657"/>
                  </a:moveTo>
                  <a:cubicBezTo>
                    <a:pt x="11911359" y="2734095"/>
                    <a:pt x="11904657" y="2710662"/>
                    <a:pt x="11897894" y="2687344"/>
                  </a:cubicBezTo>
                  <a:lnTo>
                    <a:pt x="11903987" y="2685638"/>
                  </a:lnTo>
                  <a:cubicBezTo>
                    <a:pt x="11910750" y="2708992"/>
                    <a:pt x="11917513" y="2732432"/>
                    <a:pt x="11924154" y="2755950"/>
                  </a:cubicBezTo>
                  <a:close/>
                  <a:moveTo>
                    <a:pt x="882199" y="2745471"/>
                  </a:moveTo>
                  <a:lnTo>
                    <a:pt x="877447" y="2741693"/>
                  </a:lnTo>
                  <a:cubicBezTo>
                    <a:pt x="892618" y="2722622"/>
                    <a:pt x="907911" y="2703490"/>
                    <a:pt x="923266" y="2684846"/>
                  </a:cubicBezTo>
                  <a:lnTo>
                    <a:pt x="928018" y="2688684"/>
                  </a:lnTo>
                  <a:cubicBezTo>
                    <a:pt x="912969" y="2706841"/>
                    <a:pt x="897553" y="2725973"/>
                    <a:pt x="882382" y="2744983"/>
                  </a:cubicBezTo>
                  <a:close/>
                  <a:moveTo>
                    <a:pt x="7609551" y="2738464"/>
                  </a:moveTo>
                  <a:lnTo>
                    <a:pt x="7605347" y="2734016"/>
                  </a:lnTo>
                  <a:cubicBezTo>
                    <a:pt x="7622590" y="2717748"/>
                    <a:pt x="7640260" y="2700627"/>
                    <a:pt x="7657868" y="2683201"/>
                  </a:cubicBezTo>
                  <a:lnTo>
                    <a:pt x="7662194" y="2687527"/>
                  </a:lnTo>
                  <a:cubicBezTo>
                    <a:pt x="7644708" y="2704526"/>
                    <a:pt x="7627038" y="2721769"/>
                    <a:pt x="7609734" y="2737976"/>
                  </a:cubicBezTo>
                  <a:close/>
                  <a:moveTo>
                    <a:pt x="4519388" y="2721830"/>
                  </a:moveTo>
                  <a:cubicBezTo>
                    <a:pt x="4497009" y="2712039"/>
                    <a:pt x="4474666" y="2702150"/>
                    <a:pt x="4452365" y="2692157"/>
                  </a:cubicBezTo>
                  <a:lnTo>
                    <a:pt x="4454864" y="2686613"/>
                  </a:lnTo>
                  <a:cubicBezTo>
                    <a:pt x="4477207" y="2696605"/>
                    <a:pt x="4499543" y="2706476"/>
                    <a:pt x="4521886" y="2716225"/>
                  </a:cubicBezTo>
                  <a:close/>
                  <a:moveTo>
                    <a:pt x="4385343" y="2661875"/>
                  </a:moveTo>
                  <a:cubicBezTo>
                    <a:pt x="4363086" y="2651682"/>
                    <a:pt x="4340907" y="2641403"/>
                    <a:pt x="4318808" y="2631045"/>
                  </a:cubicBezTo>
                  <a:lnTo>
                    <a:pt x="4321367" y="2625562"/>
                  </a:lnTo>
                  <a:cubicBezTo>
                    <a:pt x="4343503" y="2635919"/>
                    <a:pt x="4365663" y="2646077"/>
                    <a:pt x="4387841" y="2656026"/>
                  </a:cubicBezTo>
                  <a:close/>
                  <a:moveTo>
                    <a:pt x="7713558" y="2635432"/>
                  </a:moveTo>
                  <a:lnTo>
                    <a:pt x="7709171" y="2631228"/>
                  </a:lnTo>
                  <a:cubicBezTo>
                    <a:pt x="7725805" y="2614046"/>
                    <a:pt x="7742743" y="2596193"/>
                    <a:pt x="7759499" y="2578219"/>
                  </a:cubicBezTo>
                  <a:lnTo>
                    <a:pt x="7763947" y="2582362"/>
                  </a:lnTo>
                  <a:cubicBezTo>
                    <a:pt x="7747496" y="2599910"/>
                    <a:pt x="7730497" y="2617762"/>
                    <a:pt x="7713862" y="2634945"/>
                  </a:cubicBezTo>
                  <a:close/>
                  <a:moveTo>
                    <a:pt x="974751" y="2632325"/>
                  </a:moveTo>
                  <a:lnTo>
                    <a:pt x="970060" y="2628425"/>
                  </a:lnTo>
                  <a:cubicBezTo>
                    <a:pt x="985901" y="2609537"/>
                    <a:pt x="1001804" y="2590710"/>
                    <a:pt x="1017463" y="2572431"/>
                  </a:cubicBezTo>
                  <a:lnTo>
                    <a:pt x="1022093" y="2576391"/>
                  </a:lnTo>
                  <a:cubicBezTo>
                    <a:pt x="1006496" y="2594122"/>
                    <a:pt x="990532" y="2612949"/>
                    <a:pt x="974751" y="2631837"/>
                  </a:cubicBezTo>
                  <a:close/>
                  <a:moveTo>
                    <a:pt x="11877483" y="2617214"/>
                  </a:moveTo>
                  <a:cubicBezTo>
                    <a:pt x="11870536" y="2593817"/>
                    <a:pt x="11863590" y="2570420"/>
                    <a:pt x="11856583" y="2547206"/>
                  </a:cubicBezTo>
                  <a:lnTo>
                    <a:pt x="11862676" y="2545439"/>
                  </a:lnTo>
                  <a:cubicBezTo>
                    <a:pt x="11869744" y="2568714"/>
                    <a:pt x="11876751" y="2592068"/>
                    <a:pt x="11883636" y="2615508"/>
                  </a:cubicBezTo>
                  <a:close/>
                  <a:moveTo>
                    <a:pt x="4252882" y="2599179"/>
                  </a:moveTo>
                  <a:cubicBezTo>
                    <a:pt x="4230905" y="2588620"/>
                    <a:pt x="4208952" y="2577957"/>
                    <a:pt x="4187017" y="2567191"/>
                  </a:cubicBezTo>
                  <a:lnTo>
                    <a:pt x="4189698" y="2561768"/>
                  </a:lnTo>
                  <a:cubicBezTo>
                    <a:pt x="4211572" y="2572492"/>
                    <a:pt x="4233568" y="2583154"/>
                    <a:pt x="4255502" y="2593695"/>
                  </a:cubicBezTo>
                  <a:close/>
                  <a:moveTo>
                    <a:pt x="4121579" y="2534654"/>
                  </a:moveTo>
                  <a:cubicBezTo>
                    <a:pt x="4099766" y="2523766"/>
                    <a:pt x="4077996" y="2512763"/>
                    <a:pt x="4056263" y="2501631"/>
                  </a:cubicBezTo>
                  <a:lnTo>
                    <a:pt x="4059065" y="2496208"/>
                  </a:lnTo>
                  <a:cubicBezTo>
                    <a:pt x="4080756" y="2507297"/>
                    <a:pt x="4102490" y="2518307"/>
                    <a:pt x="4124260" y="2529232"/>
                  </a:cubicBezTo>
                  <a:close/>
                  <a:moveTo>
                    <a:pt x="7813909" y="2527952"/>
                  </a:moveTo>
                  <a:lnTo>
                    <a:pt x="7809400" y="2523870"/>
                  </a:lnTo>
                  <a:cubicBezTo>
                    <a:pt x="7825303" y="2506200"/>
                    <a:pt x="7841632" y="2487800"/>
                    <a:pt x="7858144" y="2469034"/>
                  </a:cubicBezTo>
                  <a:lnTo>
                    <a:pt x="7862775" y="2473055"/>
                  </a:lnTo>
                  <a:cubicBezTo>
                    <a:pt x="7846019" y="2491821"/>
                    <a:pt x="7829628" y="2510283"/>
                    <a:pt x="7813909" y="2527952"/>
                  </a:cubicBezTo>
                  <a:close/>
                  <a:moveTo>
                    <a:pt x="1070228" y="2520702"/>
                  </a:moveTo>
                  <a:lnTo>
                    <a:pt x="1065658" y="2516680"/>
                  </a:lnTo>
                  <a:cubicBezTo>
                    <a:pt x="1081926" y="2498402"/>
                    <a:pt x="1098377" y="2480123"/>
                    <a:pt x="1114402" y="2461844"/>
                  </a:cubicBezTo>
                  <a:lnTo>
                    <a:pt x="1118911" y="2465987"/>
                  </a:lnTo>
                  <a:cubicBezTo>
                    <a:pt x="1102886" y="2483717"/>
                    <a:pt x="1086496" y="2502057"/>
                    <a:pt x="1070228" y="2520702"/>
                  </a:cubicBezTo>
                  <a:close/>
                  <a:moveTo>
                    <a:pt x="11835258" y="2476832"/>
                  </a:moveTo>
                  <a:cubicBezTo>
                    <a:pt x="11828008" y="2453436"/>
                    <a:pt x="11820696" y="2430160"/>
                    <a:pt x="11813446" y="2407007"/>
                  </a:cubicBezTo>
                  <a:lnTo>
                    <a:pt x="11819234" y="2405179"/>
                  </a:lnTo>
                  <a:cubicBezTo>
                    <a:pt x="11826545" y="2428333"/>
                    <a:pt x="11833796" y="2451607"/>
                    <a:pt x="11841046" y="2475004"/>
                  </a:cubicBezTo>
                  <a:close/>
                  <a:moveTo>
                    <a:pt x="3991251" y="2467997"/>
                  </a:moveTo>
                  <a:cubicBezTo>
                    <a:pt x="3969602" y="2456665"/>
                    <a:pt x="3948052" y="2445271"/>
                    <a:pt x="3926604" y="2433816"/>
                  </a:cubicBezTo>
                  <a:lnTo>
                    <a:pt x="3929468" y="2428454"/>
                  </a:lnTo>
                  <a:cubicBezTo>
                    <a:pt x="3950958" y="2439909"/>
                    <a:pt x="3972485" y="2451285"/>
                    <a:pt x="3994054" y="2462575"/>
                  </a:cubicBezTo>
                  <a:close/>
                  <a:moveTo>
                    <a:pt x="7910117" y="2417670"/>
                  </a:moveTo>
                  <a:lnTo>
                    <a:pt x="7905486" y="2413770"/>
                  </a:lnTo>
                  <a:cubicBezTo>
                    <a:pt x="7920902" y="2395492"/>
                    <a:pt x="7936743" y="2376725"/>
                    <a:pt x="7952463" y="2357715"/>
                  </a:cubicBezTo>
                  <a:lnTo>
                    <a:pt x="7957154" y="2361615"/>
                  </a:lnTo>
                  <a:cubicBezTo>
                    <a:pt x="7941374" y="2380564"/>
                    <a:pt x="7925593" y="2399513"/>
                    <a:pt x="7910117" y="2417670"/>
                  </a:cubicBezTo>
                  <a:close/>
                  <a:moveTo>
                    <a:pt x="1168446" y="2412125"/>
                  </a:moveTo>
                  <a:lnTo>
                    <a:pt x="1163998" y="2407982"/>
                  </a:lnTo>
                  <a:cubicBezTo>
                    <a:pt x="1180815" y="2389703"/>
                    <a:pt x="1197753" y="2372094"/>
                    <a:pt x="1214387" y="2354791"/>
                  </a:cubicBezTo>
                  <a:lnTo>
                    <a:pt x="1218774" y="2359055"/>
                  </a:lnTo>
                  <a:cubicBezTo>
                    <a:pt x="1202140" y="2376299"/>
                    <a:pt x="1185202" y="2394151"/>
                    <a:pt x="1168446" y="2412125"/>
                  </a:cubicBezTo>
                  <a:close/>
                  <a:moveTo>
                    <a:pt x="3862324" y="2398843"/>
                  </a:moveTo>
                  <a:cubicBezTo>
                    <a:pt x="3840956" y="2387187"/>
                    <a:pt x="3819655" y="2375445"/>
                    <a:pt x="3798409" y="2363625"/>
                  </a:cubicBezTo>
                  <a:lnTo>
                    <a:pt x="3801394" y="2358264"/>
                  </a:lnTo>
                  <a:cubicBezTo>
                    <a:pt x="3822598" y="2370084"/>
                    <a:pt x="3843880" y="2381843"/>
                    <a:pt x="3865248" y="2393542"/>
                  </a:cubicBezTo>
                  <a:close/>
                  <a:moveTo>
                    <a:pt x="11791084" y="2337121"/>
                  </a:moveTo>
                  <a:cubicBezTo>
                    <a:pt x="11783590" y="2313846"/>
                    <a:pt x="11776035" y="2290693"/>
                    <a:pt x="11768418" y="2267661"/>
                  </a:cubicBezTo>
                  <a:lnTo>
                    <a:pt x="11774511" y="2265712"/>
                  </a:lnTo>
                  <a:cubicBezTo>
                    <a:pt x="11782128" y="2288786"/>
                    <a:pt x="11789744" y="2311975"/>
                    <a:pt x="11797238" y="2335293"/>
                  </a:cubicBezTo>
                  <a:close/>
                  <a:moveTo>
                    <a:pt x="3734798" y="2328042"/>
                  </a:moveTo>
                  <a:cubicBezTo>
                    <a:pt x="3713637" y="2315857"/>
                    <a:pt x="3692556" y="2303671"/>
                    <a:pt x="3671554" y="2291485"/>
                  </a:cubicBezTo>
                  <a:lnTo>
                    <a:pt x="3674661" y="2286245"/>
                  </a:lnTo>
                  <a:cubicBezTo>
                    <a:pt x="3695621" y="2298431"/>
                    <a:pt x="3716684" y="2310617"/>
                    <a:pt x="3737845" y="2322803"/>
                  </a:cubicBezTo>
                  <a:close/>
                  <a:moveTo>
                    <a:pt x="1270077" y="2306778"/>
                  </a:moveTo>
                  <a:lnTo>
                    <a:pt x="1265812" y="2302452"/>
                  </a:lnTo>
                  <a:cubicBezTo>
                    <a:pt x="1283055" y="2285148"/>
                    <a:pt x="1300541" y="2267844"/>
                    <a:pt x="1317906" y="2251027"/>
                  </a:cubicBezTo>
                  <a:lnTo>
                    <a:pt x="1322110" y="2255415"/>
                  </a:lnTo>
                  <a:cubicBezTo>
                    <a:pt x="1304685" y="2272170"/>
                    <a:pt x="1287137" y="2289474"/>
                    <a:pt x="1270077" y="2306778"/>
                  </a:cubicBezTo>
                  <a:close/>
                  <a:moveTo>
                    <a:pt x="8003705" y="2304950"/>
                  </a:moveTo>
                  <a:lnTo>
                    <a:pt x="7998952" y="2301112"/>
                  </a:lnTo>
                  <a:cubicBezTo>
                    <a:pt x="8014184" y="2282223"/>
                    <a:pt x="8029417" y="2263171"/>
                    <a:pt x="8044649" y="2243960"/>
                  </a:cubicBezTo>
                  <a:lnTo>
                    <a:pt x="8049402" y="2247798"/>
                  </a:lnTo>
                  <a:cubicBezTo>
                    <a:pt x="8034047" y="2266991"/>
                    <a:pt x="8018754" y="2286062"/>
                    <a:pt x="8003522" y="2304950"/>
                  </a:cubicBezTo>
                  <a:close/>
                  <a:moveTo>
                    <a:pt x="3608674" y="2254744"/>
                  </a:moveTo>
                  <a:cubicBezTo>
                    <a:pt x="3587672" y="2242235"/>
                    <a:pt x="3566736" y="2229702"/>
                    <a:pt x="3545856" y="2217151"/>
                  </a:cubicBezTo>
                  <a:lnTo>
                    <a:pt x="3549024" y="2211911"/>
                  </a:lnTo>
                  <a:cubicBezTo>
                    <a:pt x="3569801" y="2224523"/>
                    <a:pt x="3590761" y="2237014"/>
                    <a:pt x="3611721" y="2249504"/>
                  </a:cubicBezTo>
                  <a:close/>
                  <a:moveTo>
                    <a:pt x="1375119" y="2205026"/>
                  </a:moveTo>
                  <a:lnTo>
                    <a:pt x="1370976" y="2200578"/>
                  </a:lnTo>
                  <a:cubicBezTo>
                    <a:pt x="1389255" y="2183700"/>
                    <a:pt x="1407168" y="2167067"/>
                    <a:pt x="1425020" y="2151103"/>
                  </a:cubicBezTo>
                  <a:lnTo>
                    <a:pt x="1429042" y="2155673"/>
                  </a:lnTo>
                  <a:cubicBezTo>
                    <a:pt x="1411129" y="2171575"/>
                    <a:pt x="1392972" y="2188209"/>
                    <a:pt x="1374936" y="2205026"/>
                  </a:cubicBezTo>
                  <a:close/>
                  <a:moveTo>
                    <a:pt x="11745326" y="2198567"/>
                  </a:moveTo>
                  <a:cubicBezTo>
                    <a:pt x="11737527" y="2175371"/>
                    <a:pt x="11729667" y="2152322"/>
                    <a:pt x="11721685" y="2129412"/>
                  </a:cubicBezTo>
                  <a:lnTo>
                    <a:pt x="11727778" y="2127402"/>
                  </a:lnTo>
                  <a:cubicBezTo>
                    <a:pt x="11735699" y="2150311"/>
                    <a:pt x="11743559" y="2173385"/>
                    <a:pt x="11751419" y="2196617"/>
                  </a:cubicBezTo>
                  <a:close/>
                  <a:moveTo>
                    <a:pt x="8094185" y="2190159"/>
                  </a:moveTo>
                  <a:lnTo>
                    <a:pt x="8089371" y="2186442"/>
                  </a:lnTo>
                  <a:cubicBezTo>
                    <a:pt x="8104238" y="2167231"/>
                    <a:pt x="8119105" y="2147892"/>
                    <a:pt x="8133972" y="2128437"/>
                  </a:cubicBezTo>
                  <a:lnTo>
                    <a:pt x="8138785" y="2132154"/>
                  </a:lnTo>
                  <a:cubicBezTo>
                    <a:pt x="8124101" y="2151529"/>
                    <a:pt x="8109234" y="2170863"/>
                    <a:pt x="8094185" y="2190159"/>
                  </a:cubicBezTo>
                  <a:close/>
                  <a:moveTo>
                    <a:pt x="3482977" y="2179009"/>
                  </a:moveTo>
                  <a:cubicBezTo>
                    <a:pt x="3462181" y="2166134"/>
                    <a:pt x="3441502" y="2153217"/>
                    <a:pt x="3420950" y="2140258"/>
                  </a:cubicBezTo>
                  <a:lnTo>
                    <a:pt x="3424179" y="2135139"/>
                  </a:lnTo>
                  <a:cubicBezTo>
                    <a:pt x="3444774" y="2148057"/>
                    <a:pt x="3465447" y="2160955"/>
                    <a:pt x="3486206" y="2173830"/>
                  </a:cubicBezTo>
                  <a:close/>
                  <a:moveTo>
                    <a:pt x="1483878" y="2107477"/>
                  </a:moveTo>
                  <a:lnTo>
                    <a:pt x="1479918" y="2102847"/>
                  </a:lnTo>
                  <a:cubicBezTo>
                    <a:pt x="1498502" y="2086883"/>
                    <a:pt x="1517390" y="2071103"/>
                    <a:pt x="1536034" y="2055870"/>
                  </a:cubicBezTo>
                  <a:lnTo>
                    <a:pt x="1539934" y="2060562"/>
                  </a:lnTo>
                  <a:cubicBezTo>
                    <a:pt x="1521289" y="2075916"/>
                    <a:pt x="1502462" y="2091575"/>
                    <a:pt x="1483878" y="2107477"/>
                  </a:cubicBezTo>
                  <a:close/>
                  <a:moveTo>
                    <a:pt x="3359472" y="2100958"/>
                  </a:moveTo>
                  <a:cubicBezTo>
                    <a:pt x="3338878" y="2087755"/>
                    <a:pt x="3318424" y="2074454"/>
                    <a:pt x="3298116" y="2061049"/>
                  </a:cubicBezTo>
                  <a:lnTo>
                    <a:pt x="3301468" y="2055992"/>
                  </a:lnTo>
                  <a:cubicBezTo>
                    <a:pt x="3321775" y="2069317"/>
                    <a:pt x="3342211" y="2082600"/>
                    <a:pt x="3362763" y="2095840"/>
                  </a:cubicBezTo>
                  <a:close/>
                  <a:moveTo>
                    <a:pt x="8183203" y="2073784"/>
                  </a:moveTo>
                  <a:lnTo>
                    <a:pt x="8178329" y="2070128"/>
                  </a:lnTo>
                  <a:cubicBezTo>
                    <a:pt x="8192951" y="2050709"/>
                    <a:pt x="8207514" y="2031175"/>
                    <a:pt x="8222076" y="2011513"/>
                  </a:cubicBezTo>
                  <a:lnTo>
                    <a:pt x="8226951" y="2015108"/>
                  </a:lnTo>
                  <a:cubicBezTo>
                    <a:pt x="8212388" y="2034807"/>
                    <a:pt x="8197826" y="2054365"/>
                    <a:pt x="8183203" y="2073784"/>
                  </a:cubicBezTo>
                  <a:close/>
                  <a:moveTo>
                    <a:pt x="11697374" y="2060379"/>
                  </a:moveTo>
                  <a:cubicBezTo>
                    <a:pt x="11689271" y="2037268"/>
                    <a:pt x="11681106" y="2014334"/>
                    <a:pt x="11673003" y="1991589"/>
                  </a:cubicBezTo>
                  <a:lnTo>
                    <a:pt x="11678730" y="1989457"/>
                  </a:lnTo>
                  <a:cubicBezTo>
                    <a:pt x="11687017" y="2012305"/>
                    <a:pt x="11695181" y="2035276"/>
                    <a:pt x="11703102" y="2058368"/>
                  </a:cubicBezTo>
                  <a:close/>
                  <a:moveTo>
                    <a:pt x="3237187" y="2020531"/>
                  </a:moveTo>
                  <a:cubicBezTo>
                    <a:pt x="3216879" y="2006883"/>
                    <a:pt x="3196711" y="1993192"/>
                    <a:pt x="3176684" y="1979464"/>
                  </a:cubicBezTo>
                  <a:lnTo>
                    <a:pt x="3180096" y="1974407"/>
                  </a:lnTo>
                  <a:cubicBezTo>
                    <a:pt x="3200124" y="1988177"/>
                    <a:pt x="3220291" y="2001868"/>
                    <a:pt x="3240599" y="2015474"/>
                  </a:cubicBezTo>
                  <a:close/>
                  <a:moveTo>
                    <a:pt x="1597086" y="2014986"/>
                  </a:moveTo>
                  <a:lnTo>
                    <a:pt x="1593369" y="2010173"/>
                  </a:lnTo>
                  <a:cubicBezTo>
                    <a:pt x="1612805" y="1995062"/>
                    <a:pt x="1632546" y="1980256"/>
                    <a:pt x="1651922" y="1966121"/>
                  </a:cubicBezTo>
                  <a:lnTo>
                    <a:pt x="1655517" y="1971056"/>
                  </a:lnTo>
                  <a:cubicBezTo>
                    <a:pt x="1636141" y="1985314"/>
                    <a:pt x="1616522" y="2000059"/>
                    <a:pt x="1597086" y="2014986"/>
                  </a:cubicBezTo>
                  <a:close/>
                  <a:moveTo>
                    <a:pt x="8270332" y="1956007"/>
                  </a:moveTo>
                  <a:lnTo>
                    <a:pt x="8265458" y="1952412"/>
                  </a:lnTo>
                  <a:cubicBezTo>
                    <a:pt x="8279715" y="1932835"/>
                    <a:pt x="8293912" y="1913191"/>
                    <a:pt x="8308108" y="1893493"/>
                  </a:cubicBezTo>
                  <a:lnTo>
                    <a:pt x="8313044" y="1897027"/>
                  </a:lnTo>
                  <a:cubicBezTo>
                    <a:pt x="8298908" y="1916847"/>
                    <a:pt x="8284651" y="1936552"/>
                    <a:pt x="8270332" y="1956129"/>
                  </a:cubicBezTo>
                  <a:close/>
                  <a:moveTo>
                    <a:pt x="3116546" y="1937728"/>
                  </a:moveTo>
                  <a:cubicBezTo>
                    <a:pt x="3096482" y="1923635"/>
                    <a:pt x="3076595" y="1909414"/>
                    <a:pt x="3056896" y="1895077"/>
                  </a:cubicBezTo>
                  <a:lnTo>
                    <a:pt x="3060491" y="1890142"/>
                  </a:lnTo>
                  <a:cubicBezTo>
                    <a:pt x="3080153" y="1904320"/>
                    <a:pt x="3100016" y="1918431"/>
                    <a:pt x="3120080" y="1932488"/>
                  </a:cubicBezTo>
                  <a:close/>
                  <a:moveTo>
                    <a:pt x="1715167" y="1928954"/>
                  </a:moveTo>
                  <a:lnTo>
                    <a:pt x="1711755" y="1923958"/>
                  </a:lnTo>
                  <a:cubicBezTo>
                    <a:pt x="1732166" y="1910005"/>
                    <a:pt x="1752699" y="1896418"/>
                    <a:pt x="1772684" y="1883561"/>
                  </a:cubicBezTo>
                  <a:lnTo>
                    <a:pt x="1775914" y="1888740"/>
                  </a:lnTo>
                  <a:cubicBezTo>
                    <a:pt x="1755990" y="1901475"/>
                    <a:pt x="1735456" y="1915062"/>
                    <a:pt x="1714862" y="1928954"/>
                  </a:cubicBezTo>
                  <a:close/>
                  <a:moveTo>
                    <a:pt x="11647595" y="1922861"/>
                  </a:moveTo>
                  <a:cubicBezTo>
                    <a:pt x="11639065" y="1899909"/>
                    <a:pt x="11630474" y="1877103"/>
                    <a:pt x="11621883" y="1854437"/>
                  </a:cubicBezTo>
                  <a:lnTo>
                    <a:pt x="11627549" y="1852304"/>
                  </a:lnTo>
                  <a:cubicBezTo>
                    <a:pt x="11636201" y="1874970"/>
                    <a:pt x="11644792" y="1897776"/>
                    <a:pt x="11653323" y="1920729"/>
                  </a:cubicBezTo>
                  <a:close/>
                  <a:moveTo>
                    <a:pt x="2997734" y="1852304"/>
                  </a:moveTo>
                  <a:lnTo>
                    <a:pt x="2990300" y="1846821"/>
                  </a:lnTo>
                  <a:cubicBezTo>
                    <a:pt x="2973057" y="1834148"/>
                    <a:pt x="2955449" y="1821901"/>
                    <a:pt x="2937962" y="1810263"/>
                  </a:cubicBezTo>
                  <a:lnTo>
                    <a:pt x="2941313" y="1805145"/>
                  </a:lnTo>
                  <a:cubicBezTo>
                    <a:pt x="2958861" y="1816600"/>
                    <a:pt x="2976591" y="1828908"/>
                    <a:pt x="2993895" y="1841703"/>
                  </a:cubicBezTo>
                  <a:lnTo>
                    <a:pt x="3001329" y="1847186"/>
                  </a:lnTo>
                  <a:close/>
                  <a:moveTo>
                    <a:pt x="1838306" y="1850477"/>
                  </a:moveTo>
                  <a:lnTo>
                    <a:pt x="1835259" y="1845176"/>
                  </a:lnTo>
                  <a:cubicBezTo>
                    <a:pt x="1856584" y="1832685"/>
                    <a:pt x="1877910" y="1820804"/>
                    <a:pt x="1899113" y="1809410"/>
                  </a:cubicBezTo>
                  <a:lnTo>
                    <a:pt x="1901977" y="1814772"/>
                  </a:lnTo>
                  <a:cubicBezTo>
                    <a:pt x="1881017" y="1826105"/>
                    <a:pt x="1859570" y="1838291"/>
                    <a:pt x="1838306" y="1850477"/>
                  </a:cubicBezTo>
                  <a:close/>
                  <a:moveTo>
                    <a:pt x="8356182" y="1837864"/>
                  </a:moveTo>
                  <a:lnTo>
                    <a:pt x="8351246" y="1834330"/>
                  </a:lnTo>
                  <a:lnTo>
                    <a:pt x="8393897" y="1774802"/>
                  </a:lnTo>
                  <a:lnTo>
                    <a:pt x="8398893" y="1778336"/>
                  </a:lnTo>
                  <a:cubicBezTo>
                    <a:pt x="8384392" y="1798199"/>
                    <a:pt x="8370135" y="1818044"/>
                    <a:pt x="8356182" y="1837864"/>
                  </a:cubicBezTo>
                  <a:close/>
                  <a:moveTo>
                    <a:pt x="11595805" y="1786318"/>
                  </a:moveTo>
                  <a:cubicBezTo>
                    <a:pt x="11586909" y="1763487"/>
                    <a:pt x="11577953" y="1740822"/>
                    <a:pt x="11568935" y="1718320"/>
                  </a:cubicBezTo>
                  <a:lnTo>
                    <a:pt x="11574601" y="1716066"/>
                  </a:lnTo>
                  <a:cubicBezTo>
                    <a:pt x="11583619" y="1738567"/>
                    <a:pt x="11592576" y="1761233"/>
                    <a:pt x="11601471" y="1784063"/>
                  </a:cubicBezTo>
                  <a:close/>
                  <a:moveTo>
                    <a:pt x="1967415" y="1782053"/>
                  </a:moveTo>
                  <a:lnTo>
                    <a:pt x="1964795" y="1776569"/>
                  </a:lnTo>
                  <a:cubicBezTo>
                    <a:pt x="1987035" y="1765906"/>
                    <a:pt x="2009517" y="1755853"/>
                    <a:pt x="2031818" y="1746592"/>
                  </a:cubicBezTo>
                  <a:lnTo>
                    <a:pt x="2034133" y="1752197"/>
                  </a:lnTo>
                  <a:cubicBezTo>
                    <a:pt x="2011650" y="1761398"/>
                    <a:pt x="1989045" y="1771268"/>
                    <a:pt x="1967111" y="1782053"/>
                  </a:cubicBezTo>
                  <a:close/>
                  <a:moveTo>
                    <a:pt x="2875875" y="1772913"/>
                  </a:moveTo>
                  <a:cubicBezTo>
                    <a:pt x="2854488" y="1761032"/>
                    <a:pt x="2832615" y="1749943"/>
                    <a:pt x="2810863" y="1740011"/>
                  </a:cubicBezTo>
                  <a:lnTo>
                    <a:pt x="2813422" y="1734467"/>
                  </a:lnTo>
                  <a:cubicBezTo>
                    <a:pt x="2835296" y="1744459"/>
                    <a:pt x="2857291" y="1755609"/>
                    <a:pt x="2878799" y="1767552"/>
                  </a:cubicBezTo>
                  <a:close/>
                  <a:moveTo>
                    <a:pt x="2102069" y="1725815"/>
                  </a:moveTo>
                  <a:lnTo>
                    <a:pt x="2100059" y="1720087"/>
                  </a:lnTo>
                  <a:cubicBezTo>
                    <a:pt x="2123212" y="1711801"/>
                    <a:pt x="2146670" y="1704185"/>
                    <a:pt x="2169579" y="1697483"/>
                  </a:cubicBezTo>
                  <a:lnTo>
                    <a:pt x="2171347" y="1703576"/>
                  </a:lnTo>
                  <a:cubicBezTo>
                    <a:pt x="2147949" y="1709973"/>
                    <a:pt x="2124613" y="1717528"/>
                    <a:pt x="2101521" y="1725815"/>
                  </a:cubicBezTo>
                  <a:close/>
                  <a:moveTo>
                    <a:pt x="8441178" y="1718503"/>
                  </a:moveTo>
                  <a:lnTo>
                    <a:pt x="8436182" y="1715030"/>
                  </a:lnTo>
                  <a:cubicBezTo>
                    <a:pt x="8450256" y="1695045"/>
                    <a:pt x="8464270" y="1675042"/>
                    <a:pt x="8478346" y="1655015"/>
                  </a:cubicBezTo>
                  <a:lnTo>
                    <a:pt x="8483341" y="1658488"/>
                  </a:lnTo>
                  <a:cubicBezTo>
                    <a:pt x="8468962" y="1678515"/>
                    <a:pt x="8454705" y="1698518"/>
                    <a:pt x="8440630" y="1718503"/>
                  </a:cubicBezTo>
                  <a:close/>
                  <a:moveTo>
                    <a:pt x="2743718" y="1712410"/>
                  </a:moveTo>
                  <a:cubicBezTo>
                    <a:pt x="2720870" y="1704124"/>
                    <a:pt x="2697534" y="1696751"/>
                    <a:pt x="2674259" y="1690476"/>
                  </a:cubicBezTo>
                  <a:lnTo>
                    <a:pt x="2675843" y="1684383"/>
                  </a:lnTo>
                  <a:cubicBezTo>
                    <a:pt x="2699240" y="1690476"/>
                    <a:pt x="2722820" y="1698092"/>
                    <a:pt x="2745790" y="1706439"/>
                  </a:cubicBezTo>
                  <a:close/>
                  <a:moveTo>
                    <a:pt x="2241781" y="1685236"/>
                  </a:moveTo>
                  <a:lnTo>
                    <a:pt x="2240441" y="1679143"/>
                  </a:lnTo>
                  <a:cubicBezTo>
                    <a:pt x="2264447" y="1673781"/>
                    <a:pt x="2288636" y="1669272"/>
                    <a:pt x="2312337" y="1665677"/>
                  </a:cubicBezTo>
                  <a:lnTo>
                    <a:pt x="2313251" y="1671770"/>
                  </a:lnTo>
                  <a:cubicBezTo>
                    <a:pt x="2289123" y="1675304"/>
                    <a:pt x="2265056" y="1679874"/>
                    <a:pt x="2241233" y="1685175"/>
                  </a:cubicBezTo>
                  <a:close/>
                  <a:moveTo>
                    <a:pt x="2603215" y="1674573"/>
                  </a:moveTo>
                  <a:cubicBezTo>
                    <a:pt x="2579452" y="1670308"/>
                    <a:pt x="2555203" y="1667018"/>
                    <a:pt x="2531074" y="1664824"/>
                  </a:cubicBezTo>
                  <a:lnTo>
                    <a:pt x="2531623" y="1658731"/>
                  </a:lnTo>
                  <a:cubicBezTo>
                    <a:pt x="2555995" y="1660986"/>
                    <a:pt x="2580366" y="1664276"/>
                    <a:pt x="2604312" y="1668541"/>
                  </a:cubicBezTo>
                  <a:close/>
                  <a:moveTo>
                    <a:pt x="2385087" y="1663667"/>
                  </a:moveTo>
                  <a:lnTo>
                    <a:pt x="2384600" y="1657574"/>
                  </a:lnTo>
                  <a:cubicBezTo>
                    <a:pt x="2407022" y="1655929"/>
                    <a:pt x="2429566" y="1655076"/>
                    <a:pt x="2451622" y="1655076"/>
                  </a:cubicBezTo>
                  <a:lnTo>
                    <a:pt x="2457715" y="1655076"/>
                  </a:lnTo>
                  <a:lnTo>
                    <a:pt x="2457715" y="1661169"/>
                  </a:lnTo>
                  <a:lnTo>
                    <a:pt x="2451622" y="1661169"/>
                  </a:lnTo>
                  <a:cubicBezTo>
                    <a:pt x="2429627" y="1661169"/>
                    <a:pt x="2407266" y="1662022"/>
                    <a:pt x="2385087" y="1663667"/>
                  </a:cubicBezTo>
                  <a:close/>
                  <a:moveTo>
                    <a:pt x="11541212" y="1650567"/>
                  </a:moveTo>
                  <a:cubicBezTo>
                    <a:pt x="11531890" y="1627901"/>
                    <a:pt x="11522507" y="1605418"/>
                    <a:pt x="11513124" y="1583118"/>
                  </a:cubicBezTo>
                  <a:lnTo>
                    <a:pt x="11518729" y="1580742"/>
                  </a:lnTo>
                  <a:cubicBezTo>
                    <a:pt x="11528173" y="1603042"/>
                    <a:pt x="11537556" y="1625543"/>
                    <a:pt x="11546879" y="1648251"/>
                  </a:cubicBezTo>
                  <a:close/>
                  <a:moveTo>
                    <a:pt x="8525200" y="1598289"/>
                  </a:moveTo>
                  <a:lnTo>
                    <a:pt x="8520204" y="1594816"/>
                  </a:lnTo>
                  <a:cubicBezTo>
                    <a:pt x="8534156" y="1574752"/>
                    <a:pt x="8548110" y="1554725"/>
                    <a:pt x="8562002" y="1534740"/>
                  </a:cubicBezTo>
                  <a:lnTo>
                    <a:pt x="8566998" y="1538213"/>
                  </a:lnTo>
                  <a:cubicBezTo>
                    <a:pt x="8552923" y="1558277"/>
                    <a:pt x="8538848" y="1578304"/>
                    <a:pt x="8524895" y="1598289"/>
                  </a:cubicBezTo>
                  <a:close/>
                  <a:moveTo>
                    <a:pt x="11484608" y="1515913"/>
                  </a:moveTo>
                  <a:cubicBezTo>
                    <a:pt x="11474799" y="1493430"/>
                    <a:pt x="11464989" y="1471068"/>
                    <a:pt x="11455180" y="1448890"/>
                  </a:cubicBezTo>
                  <a:lnTo>
                    <a:pt x="11460724" y="1446392"/>
                  </a:lnTo>
                  <a:cubicBezTo>
                    <a:pt x="11470595" y="1468491"/>
                    <a:pt x="11480404" y="1490828"/>
                    <a:pt x="11490153" y="1513414"/>
                  </a:cubicBezTo>
                  <a:close/>
                  <a:moveTo>
                    <a:pt x="8608734" y="1478136"/>
                  </a:moveTo>
                  <a:lnTo>
                    <a:pt x="8603738" y="1474663"/>
                  </a:lnTo>
                  <a:lnTo>
                    <a:pt x="8645414" y="1414526"/>
                  </a:lnTo>
                  <a:lnTo>
                    <a:pt x="8650472" y="1417999"/>
                  </a:lnTo>
                  <a:close/>
                  <a:moveTo>
                    <a:pt x="11425020" y="1382416"/>
                  </a:moveTo>
                  <a:cubicBezTo>
                    <a:pt x="11414661" y="1359872"/>
                    <a:pt x="11404243" y="1337633"/>
                    <a:pt x="11394128" y="1316186"/>
                  </a:cubicBezTo>
                  <a:lnTo>
                    <a:pt x="11399612" y="1313566"/>
                  </a:lnTo>
                  <a:cubicBezTo>
                    <a:pt x="11409787" y="1335013"/>
                    <a:pt x="11420206" y="1357313"/>
                    <a:pt x="11430564" y="1379857"/>
                  </a:cubicBezTo>
                  <a:close/>
                  <a:moveTo>
                    <a:pt x="8692147" y="1358044"/>
                  </a:moveTo>
                  <a:lnTo>
                    <a:pt x="8687150" y="1354571"/>
                  </a:lnTo>
                  <a:lnTo>
                    <a:pt x="8728888" y="1294495"/>
                  </a:lnTo>
                  <a:lnTo>
                    <a:pt x="8733884" y="1297968"/>
                  </a:lnTo>
                  <a:close/>
                  <a:moveTo>
                    <a:pt x="11362445" y="1250503"/>
                  </a:moveTo>
                  <a:cubicBezTo>
                    <a:pt x="11351782" y="1228630"/>
                    <a:pt x="11340876" y="1206573"/>
                    <a:pt x="11329969" y="1185004"/>
                  </a:cubicBezTo>
                  <a:lnTo>
                    <a:pt x="11335392" y="1182262"/>
                  </a:lnTo>
                  <a:cubicBezTo>
                    <a:pt x="11346299" y="1203892"/>
                    <a:pt x="11357266" y="1225949"/>
                    <a:pt x="11367929" y="1247823"/>
                  </a:cubicBezTo>
                  <a:close/>
                  <a:moveTo>
                    <a:pt x="8775681" y="1237891"/>
                  </a:moveTo>
                  <a:lnTo>
                    <a:pt x="8770685" y="1234418"/>
                  </a:lnTo>
                  <a:cubicBezTo>
                    <a:pt x="8784699" y="1214372"/>
                    <a:pt x="8798713" y="1194326"/>
                    <a:pt x="8812666" y="1174463"/>
                  </a:cubicBezTo>
                  <a:lnTo>
                    <a:pt x="8817601" y="1177936"/>
                  </a:lnTo>
                  <a:close/>
                  <a:moveTo>
                    <a:pt x="11296641" y="1119932"/>
                  </a:moveTo>
                  <a:cubicBezTo>
                    <a:pt x="11285308" y="1098241"/>
                    <a:pt x="11273792" y="1076550"/>
                    <a:pt x="11262398" y="1055407"/>
                  </a:cubicBezTo>
                  <a:lnTo>
                    <a:pt x="11267760" y="1052482"/>
                  </a:lnTo>
                  <a:cubicBezTo>
                    <a:pt x="11279154" y="1073686"/>
                    <a:pt x="11290731" y="1095438"/>
                    <a:pt x="11302003" y="1117129"/>
                  </a:cubicBezTo>
                  <a:close/>
                  <a:moveTo>
                    <a:pt x="8859459" y="1118104"/>
                  </a:moveTo>
                  <a:lnTo>
                    <a:pt x="8854524" y="1114570"/>
                  </a:lnTo>
                  <a:cubicBezTo>
                    <a:pt x="8868599" y="1094585"/>
                    <a:pt x="8882674" y="1074679"/>
                    <a:pt x="8896809" y="1054859"/>
                  </a:cubicBezTo>
                  <a:lnTo>
                    <a:pt x="8901806" y="1058393"/>
                  </a:lnTo>
                  <a:cubicBezTo>
                    <a:pt x="8887731" y="1078091"/>
                    <a:pt x="8873595" y="1097936"/>
                    <a:pt x="8859398" y="1117921"/>
                  </a:cubicBezTo>
                  <a:close/>
                  <a:moveTo>
                    <a:pt x="8944335" y="998865"/>
                  </a:moveTo>
                  <a:lnTo>
                    <a:pt x="8939399" y="995331"/>
                  </a:lnTo>
                  <a:cubicBezTo>
                    <a:pt x="8953717" y="975425"/>
                    <a:pt x="8967914" y="955647"/>
                    <a:pt x="8982050" y="935985"/>
                  </a:cubicBezTo>
                  <a:lnTo>
                    <a:pt x="8986985" y="939580"/>
                  </a:lnTo>
                  <a:cubicBezTo>
                    <a:pt x="8972667" y="959078"/>
                    <a:pt x="8958409" y="978776"/>
                    <a:pt x="8944274" y="998682"/>
                  </a:cubicBezTo>
                  <a:close/>
                  <a:moveTo>
                    <a:pt x="11226938" y="991370"/>
                  </a:moveTo>
                  <a:cubicBezTo>
                    <a:pt x="11214752" y="969984"/>
                    <a:pt x="11202566" y="948719"/>
                    <a:pt x="11190745" y="927881"/>
                  </a:cubicBezTo>
                  <a:lnTo>
                    <a:pt x="11196046" y="924835"/>
                  </a:lnTo>
                  <a:cubicBezTo>
                    <a:pt x="11208232" y="945612"/>
                    <a:pt x="11220418" y="966998"/>
                    <a:pt x="11232239" y="988385"/>
                  </a:cubicBezTo>
                  <a:close/>
                  <a:moveTo>
                    <a:pt x="9030306" y="880600"/>
                  </a:moveTo>
                  <a:lnTo>
                    <a:pt x="9025431" y="877005"/>
                  </a:lnTo>
                  <a:cubicBezTo>
                    <a:pt x="9039994" y="857222"/>
                    <a:pt x="9054556" y="837627"/>
                    <a:pt x="9069057" y="818208"/>
                  </a:cubicBezTo>
                  <a:lnTo>
                    <a:pt x="9073932" y="821864"/>
                  </a:lnTo>
                  <a:cubicBezTo>
                    <a:pt x="9059431" y="841075"/>
                    <a:pt x="9044868" y="860573"/>
                    <a:pt x="9030306" y="880356"/>
                  </a:cubicBezTo>
                  <a:close/>
                  <a:moveTo>
                    <a:pt x="11153517" y="865002"/>
                  </a:moveTo>
                  <a:cubicBezTo>
                    <a:pt x="11140783" y="843921"/>
                    <a:pt x="11127866" y="823022"/>
                    <a:pt x="11115192" y="802854"/>
                  </a:cubicBezTo>
                  <a:lnTo>
                    <a:pt x="11120311" y="799564"/>
                  </a:lnTo>
                  <a:cubicBezTo>
                    <a:pt x="11133045" y="819793"/>
                    <a:pt x="11145962" y="840752"/>
                    <a:pt x="11158757" y="861895"/>
                  </a:cubicBezTo>
                  <a:close/>
                  <a:moveTo>
                    <a:pt x="9117801" y="763250"/>
                  </a:moveTo>
                  <a:lnTo>
                    <a:pt x="9112926" y="759594"/>
                  </a:lnTo>
                  <a:cubicBezTo>
                    <a:pt x="9127854" y="740054"/>
                    <a:pt x="9142721" y="720721"/>
                    <a:pt x="9157649" y="701589"/>
                  </a:cubicBezTo>
                  <a:lnTo>
                    <a:pt x="9162462" y="705306"/>
                  </a:lnTo>
                  <a:cubicBezTo>
                    <a:pt x="9147778" y="724395"/>
                    <a:pt x="9132850" y="743710"/>
                    <a:pt x="9117801" y="763250"/>
                  </a:cubicBezTo>
                  <a:close/>
                  <a:moveTo>
                    <a:pt x="11075406" y="741132"/>
                  </a:moveTo>
                  <a:cubicBezTo>
                    <a:pt x="11061758" y="720477"/>
                    <a:pt x="11048049" y="700066"/>
                    <a:pt x="11034583" y="680568"/>
                  </a:cubicBezTo>
                  <a:lnTo>
                    <a:pt x="11039579" y="677096"/>
                  </a:lnTo>
                  <a:cubicBezTo>
                    <a:pt x="11053106" y="696654"/>
                    <a:pt x="11066815" y="717065"/>
                    <a:pt x="11080463" y="738025"/>
                  </a:cubicBezTo>
                  <a:close/>
                  <a:moveTo>
                    <a:pt x="9207733" y="647910"/>
                  </a:moveTo>
                  <a:lnTo>
                    <a:pt x="9203102" y="644072"/>
                  </a:lnTo>
                  <a:cubicBezTo>
                    <a:pt x="9218517" y="624757"/>
                    <a:pt x="9234054" y="605625"/>
                    <a:pt x="9249165" y="587164"/>
                  </a:cubicBezTo>
                  <a:lnTo>
                    <a:pt x="9253856" y="591063"/>
                  </a:lnTo>
                  <a:cubicBezTo>
                    <a:pt x="9238868" y="609464"/>
                    <a:pt x="9223391" y="628596"/>
                    <a:pt x="9207977" y="647910"/>
                  </a:cubicBezTo>
                  <a:close/>
                  <a:moveTo>
                    <a:pt x="10992420" y="620919"/>
                  </a:moveTo>
                  <a:cubicBezTo>
                    <a:pt x="10977980" y="601056"/>
                    <a:pt x="10963296" y="581314"/>
                    <a:pt x="10948794" y="562304"/>
                  </a:cubicBezTo>
                  <a:lnTo>
                    <a:pt x="10953608" y="558649"/>
                  </a:lnTo>
                  <a:cubicBezTo>
                    <a:pt x="10968169" y="577659"/>
                    <a:pt x="10982915" y="597400"/>
                    <a:pt x="10997355" y="617324"/>
                  </a:cubicBezTo>
                  <a:close/>
                  <a:moveTo>
                    <a:pt x="9300589" y="534886"/>
                  </a:moveTo>
                  <a:lnTo>
                    <a:pt x="9295959" y="530926"/>
                  </a:lnTo>
                  <a:cubicBezTo>
                    <a:pt x="9312105" y="511916"/>
                    <a:pt x="9328191" y="493271"/>
                    <a:pt x="9343788" y="475480"/>
                  </a:cubicBezTo>
                  <a:lnTo>
                    <a:pt x="9348358" y="479501"/>
                  </a:lnTo>
                  <a:cubicBezTo>
                    <a:pt x="9332943" y="497232"/>
                    <a:pt x="9316858" y="516120"/>
                    <a:pt x="9300589" y="534886"/>
                  </a:cubicBezTo>
                  <a:close/>
                  <a:moveTo>
                    <a:pt x="10903706" y="504909"/>
                  </a:moveTo>
                  <a:cubicBezTo>
                    <a:pt x="10888230" y="485838"/>
                    <a:pt x="10872449" y="466950"/>
                    <a:pt x="10856913" y="448914"/>
                  </a:cubicBezTo>
                  <a:lnTo>
                    <a:pt x="10861483" y="444954"/>
                  </a:lnTo>
                  <a:cubicBezTo>
                    <a:pt x="10877080" y="463233"/>
                    <a:pt x="10892922" y="481938"/>
                    <a:pt x="10908459" y="501070"/>
                  </a:cubicBezTo>
                  <a:close/>
                  <a:moveTo>
                    <a:pt x="9397163" y="425091"/>
                  </a:moveTo>
                  <a:lnTo>
                    <a:pt x="9392715" y="421009"/>
                  </a:lnTo>
                  <a:cubicBezTo>
                    <a:pt x="9409592" y="402730"/>
                    <a:pt x="9426470" y="384451"/>
                    <a:pt x="9442860" y="367573"/>
                  </a:cubicBezTo>
                  <a:lnTo>
                    <a:pt x="9447246" y="371839"/>
                  </a:lnTo>
                  <a:cubicBezTo>
                    <a:pt x="9431040" y="388777"/>
                    <a:pt x="9414223" y="406447"/>
                    <a:pt x="9397345" y="425091"/>
                  </a:cubicBezTo>
                  <a:close/>
                  <a:moveTo>
                    <a:pt x="10808290" y="394626"/>
                  </a:moveTo>
                  <a:cubicBezTo>
                    <a:pt x="10791596" y="376347"/>
                    <a:pt x="10774597" y="358800"/>
                    <a:pt x="10757780" y="341922"/>
                  </a:cubicBezTo>
                  <a:lnTo>
                    <a:pt x="10762106" y="337657"/>
                  </a:lnTo>
                  <a:cubicBezTo>
                    <a:pt x="10778984" y="354535"/>
                    <a:pt x="10795983" y="372326"/>
                    <a:pt x="10812739" y="390483"/>
                  </a:cubicBezTo>
                  <a:close/>
                  <a:moveTo>
                    <a:pt x="9498305" y="320109"/>
                  </a:moveTo>
                  <a:lnTo>
                    <a:pt x="9494041" y="315722"/>
                  </a:lnTo>
                  <a:cubicBezTo>
                    <a:pt x="9511893" y="298236"/>
                    <a:pt x="9529745" y="281297"/>
                    <a:pt x="9547171" y="265334"/>
                  </a:cubicBezTo>
                  <a:lnTo>
                    <a:pt x="9551315" y="269782"/>
                  </a:lnTo>
                  <a:cubicBezTo>
                    <a:pt x="9534376" y="285562"/>
                    <a:pt x="9516584" y="302501"/>
                    <a:pt x="9498793" y="319927"/>
                  </a:cubicBezTo>
                  <a:close/>
                  <a:moveTo>
                    <a:pt x="10704710" y="291351"/>
                  </a:moveTo>
                  <a:cubicBezTo>
                    <a:pt x="10686431" y="274595"/>
                    <a:pt x="10668152" y="258388"/>
                    <a:pt x="10649874" y="243155"/>
                  </a:cubicBezTo>
                  <a:lnTo>
                    <a:pt x="10653773" y="238464"/>
                  </a:lnTo>
                  <a:cubicBezTo>
                    <a:pt x="10672052" y="253757"/>
                    <a:pt x="10690331" y="270025"/>
                    <a:pt x="10708610" y="286842"/>
                  </a:cubicBezTo>
                  <a:close/>
                  <a:moveTo>
                    <a:pt x="9605785" y="221525"/>
                  </a:moveTo>
                  <a:lnTo>
                    <a:pt x="9601886" y="216895"/>
                  </a:lnTo>
                  <a:cubicBezTo>
                    <a:pt x="9621018" y="200748"/>
                    <a:pt x="9640150" y="185272"/>
                    <a:pt x="9658855" y="170954"/>
                  </a:cubicBezTo>
                  <a:lnTo>
                    <a:pt x="9662572" y="175767"/>
                  </a:lnTo>
                  <a:cubicBezTo>
                    <a:pt x="9644658" y="189842"/>
                    <a:pt x="9625587" y="205379"/>
                    <a:pt x="9606516" y="221343"/>
                  </a:cubicBezTo>
                  <a:close/>
                  <a:moveTo>
                    <a:pt x="10592844" y="197702"/>
                  </a:moveTo>
                  <a:cubicBezTo>
                    <a:pt x="10573225" y="182896"/>
                    <a:pt x="10553178" y="168760"/>
                    <a:pt x="10533437" y="155600"/>
                  </a:cubicBezTo>
                  <a:lnTo>
                    <a:pt x="10536789" y="150542"/>
                  </a:lnTo>
                  <a:cubicBezTo>
                    <a:pt x="10556652" y="163703"/>
                    <a:pt x="10576758" y="177961"/>
                    <a:pt x="10596499" y="192828"/>
                  </a:cubicBezTo>
                  <a:close/>
                  <a:moveTo>
                    <a:pt x="9721551" y="133178"/>
                  </a:moveTo>
                  <a:lnTo>
                    <a:pt x="9718140" y="128120"/>
                  </a:lnTo>
                  <a:cubicBezTo>
                    <a:pt x="9738977" y="114046"/>
                    <a:pt x="9759815" y="100946"/>
                    <a:pt x="9780165" y="89247"/>
                  </a:cubicBezTo>
                  <a:lnTo>
                    <a:pt x="9783212" y="94487"/>
                  </a:lnTo>
                  <a:cubicBezTo>
                    <a:pt x="9763654" y="106003"/>
                    <a:pt x="9743060" y="118981"/>
                    <a:pt x="9722343" y="132995"/>
                  </a:cubicBezTo>
                  <a:close/>
                  <a:moveTo>
                    <a:pt x="10471594" y="117336"/>
                  </a:moveTo>
                  <a:cubicBezTo>
                    <a:pt x="10450208" y="105150"/>
                    <a:pt x="10428517" y="93695"/>
                    <a:pt x="10407192" y="83520"/>
                  </a:cubicBezTo>
                  <a:lnTo>
                    <a:pt x="10409812" y="77975"/>
                  </a:lnTo>
                  <a:cubicBezTo>
                    <a:pt x="10431319" y="88272"/>
                    <a:pt x="10453133" y="99727"/>
                    <a:pt x="10474580" y="112035"/>
                  </a:cubicBezTo>
                  <a:close/>
                  <a:moveTo>
                    <a:pt x="9847554" y="60915"/>
                  </a:moveTo>
                  <a:lnTo>
                    <a:pt x="9844995" y="55431"/>
                  </a:lnTo>
                  <a:cubicBezTo>
                    <a:pt x="9867051" y="45104"/>
                    <a:pt x="9889656" y="35971"/>
                    <a:pt x="9912687" y="28074"/>
                  </a:cubicBezTo>
                  <a:lnTo>
                    <a:pt x="9914637" y="33862"/>
                  </a:lnTo>
                  <a:cubicBezTo>
                    <a:pt x="9892093" y="41649"/>
                    <a:pt x="9869976" y="50618"/>
                    <a:pt x="9848346" y="60732"/>
                  </a:cubicBezTo>
                  <a:close/>
                  <a:moveTo>
                    <a:pt x="10340352" y="54822"/>
                  </a:moveTo>
                  <a:cubicBezTo>
                    <a:pt x="10317503" y="46170"/>
                    <a:pt x="10294289" y="38493"/>
                    <a:pt x="10271379" y="32156"/>
                  </a:cubicBezTo>
                  <a:lnTo>
                    <a:pt x="10273025" y="26063"/>
                  </a:lnTo>
                  <a:cubicBezTo>
                    <a:pt x="10296117" y="32522"/>
                    <a:pt x="10319514" y="40199"/>
                    <a:pt x="10342545" y="48912"/>
                  </a:cubicBezTo>
                  <a:close/>
                  <a:moveTo>
                    <a:pt x="10200640" y="16071"/>
                  </a:moveTo>
                  <a:cubicBezTo>
                    <a:pt x="10176817" y="11897"/>
                    <a:pt x="10152811" y="8948"/>
                    <a:pt x="10128683" y="7236"/>
                  </a:cubicBezTo>
                  <a:lnTo>
                    <a:pt x="10129109" y="1143"/>
                  </a:lnTo>
                  <a:cubicBezTo>
                    <a:pt x="10153420" y="2874"/>
                    <a:pt x="10177670" y="5847"/>
                    <a:pt x="10201676" y="10039"/>
                  </a:cubicBezTo>
                  <a:close/>
                  <a:moveTo>
                    <a:pt x="9984340" y="14913"/>
                  </a:moveTo>
                  <a:lnTo>
                    <a:pt x="9983122" y="8820"/>
                  </a:lnTo>
                  <a:cubicBezTo>
                    <a:pt x="10007128" y="3995"/>
                    <a:pt x="10031439" y="979"/>
                    <a:pt x="10055872" y="-197"/>
                  </a:cubicBezTo>
                  <a:lnTo>
                    <a:pt x="10055872" y="5896"/>
                  </a:lnTo>
                  <a:cubicBezTo>
                    <a:pt x="10032110" y="7108"/>
                    <a:pt x="10008469" y="10082"/>
                    <a:pt x="9985133" y="14791"/>
                  </a:cubicBezTo>
                  <a:close/>
                </a:path>
              </a:pathLst>
            </a:custGeom>
            <a:solidFill>
              <a:schemeClr val="bg1"/>
            </a:solidFill>
            <a:ln w="6093"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D1CACF02-5950-845C-3D27-EE9E7603AB38}"/>
                </a:ext>
              </a:extLst>
            </p:cNvPr>
            <p:cNvSpPr/>
            <p:nvPr/>
          </p:nvSpPr>
          <p:spPr>
            <a:xfrm>
              <a:off x="487" y="2694311"/>
              <a:ext cx="12156173" cy="2097925"/>
            </a:xfrm>
            <a:custGeom>
              <a:avLst/>
              <a:gdLst>
                <a:gd name="connsiteX0" fmla="*/ 4509 w 12156173"/>
                <a:gd name="connsiteY0" fmla="*/ 2097729 h 2097925"/>
                <a:gd name="connsiteX1" fmla="*/ 0 w 12156173"/>
                <a:gd name="connsiteY1" fmla="*/ 2093647 h 2097925"/>
                <a:gd name="connsiteX2" fmla="*/ 50694 w 12156173"/>
                <a:gd name="connsiteY2" fmla="*/ 2039968 h 2097925"/>
                <a:gd name="connsiteX3" fmla="*/ 55081 w 12156173"/>
                <a:gd name="connsiteY3" fmla="*/ 2044172 h 2097925"/>
                <a:gd name="connsiteX4" fmla="*/ 4509 w 12156173"/>
                <a:gd name="connsiteY4" fmla="*/ 2097729 h 2097925"/>
                <a:gd name="connsiteX5" fmla="*/ 106627 w 12156173"/>
                <a:gd name="connsiteY5" fmla="*/ 1992016 h 2097925"/>
                <a:gd name="connsiteX6" fmla="*/ 102362 w 12156173"/>
                <a:gd name="connsiteY6" fmla="*/ 1987690 h 2097925"/>
                <a:gd name="connsiteX7" fmla="*/ 154761 w 12156173"/>
                <a:gd name="connsiteY7" fmla="*/ 1936326 h 2097925"/>
                <a:gd name="connsiteX8" fmla="*/ 158966 w 12156173"/>
                <a:gd name="connsiteY8" fmla="*/ 1940652 h 2097925"/>
                <a:gd name="connsiteX9" fmla="*/ 106627 w 12156173"/>
                <a:gd name="connsiteY9" fmla="*/ 1991833 h 2097925"/>
                <a:gd name="connsiteX10" fmla="*/ 212035 w 12156173"/>
                <a:gd name="connsiteY10" fmla="*/ 1890142 h 2097925"/>
                <a:gd name="connsiteX11" fmla="*/ 207892 w 12156173"/>
                <a:gd name="connsiteY11" fmla="*/ 1885755 h 2097925"/>
                <a:gd name="connsiteX12" fmla="*/ 261693 w 12156173"/>
                <a:gd name="connsiteY12" fmla="*/ 1835915 h 2097925"/>
                <a:gd name="connsiteX13" fmla="*/ 265775 w 12156173"/>
                <a:gd name="connsiteY13" fmla="*/ 1840423 h 2097925"/>
                <a:gd name="connsiteX14" fmla="*/ 212035 w 12156173"/>
                <a:gd name="connsiteY14" fmla="*/ 1889959 h 2097925"/>
                <a:gd name="connsiteX15" fmla="*/ 320185 w 12156173"/>
                <a:gd name="connsiteY15" fmla="*/ 1791375 h 2097925"/>
                <a:gd name="connsiteX16" fmla="*/ 316103 w 12156173"/>
                <a:gd name="connsiteY16" fmla="*/ 1786805 h 2097925"/>
                <a:gd name="connsiteX17" fmla="*/ 370939 w 12156173"/>
                <a:gd name="connsiteY17" fmla="*/ 1738488 h 2097925"/>
                <a:gd name="connsiteX18" fmla="*/ 374900 w 12156173"/>
                <a:gd name="connsiteY18" fmla="*/ 1743058 h 2097925"/>
                <a:gd name="connsiteX19" fmla="*/ 320185 w 12156173"/>
                <a:gd name="connsiteY19" fmla="*/ 1791192 h 2097925"/>
                <a:gd name="connsiteX20" fmla="*/ 430772 w 12156173"/>
                <a:gd name="connsiteY20" fmla="*/ 1695594 h 2097925"/>
                <a:gd name="connsiteX21" fmla="*/ 426873 w 12156173"/>
                <a:gd name="connsiteY21" fmla="*/ 1690902 h 2097925"/>
                <a:gd name="connsiteX22" fmla="*/ 483172 w 12156173"/>
                <a:gd name="connsiteY22" fmla="*/ 1644047 h 2097925"/>
                <a:gd name="connsiteX23" fmla="*/ 487010 w 12156173"/>
                <a:gd name="connsiteY23" fmla="*/ 1648739 h 2097925"/>
                <a:gd name="connsiteX24" fmla="*/ 430772 w 12156173"/>
                <a:gd name="connsiteY24" fmla="*/ 1695594 h 2097925"/>
                <a:gd name="connsiteX25" fmla="*/ 543858 w 12156173"/>
                <a:gd name="connsiteY25" fmla="*/ 1602676 h 2097925"/>
                <a:gd name="connsiteX26" fmla="*/ 540080 w 12156173"/>
                <a:gd name="connsiteY26" fmla="*/ 1597924 h 2097925"/>
                <a:gd name="connsiteX27" fmla="*/ 597597 w 12156173"/>
                <a:gd name="connsiteY27" fmla="*/ 1552592 h 2097925"/>
                <a:gd name="connsiteX28" fmla="*/ 601314 w 12156173"/>
                <a:gd name="connsiteY28" fmla="*/ 1557345 h 2097925"/>
                <a:gd name="connsiteX29" fmla="*/ 543858 w 12156173"/>
                <a:gd name="connsiteY29" fmla="*/ 1602433 h 2097925"/>
                <a:gd name="connsiteX30" fmla="*/ 659624 w 12156173"/>
                <a:gd name="connsiteY30" fmla="*/ 1512866 h 2097925"/>
                <a:gd name="connsiteX31" fmla="*/ 655907 w 12156173"/>
                <a:gd name="connsiteY31" fmla="*/ 1507992 h 2097925"/>
                <a:gd name="connsiteX32" fmla="*/ 714643 w 12156173"/>
                <a:gd name="connsiteY32" fmla="*/ 1464244 h 2097925"/>
                <a:gd name="connsiteX33" fmla="*/ 718299 w 12156173"/>
                <a:gd name="connsiteY33" fmla="*/ 1469180 h 2097925"/>
                <a:gd name="connsiteX34" fmla="*/ 659380 w 12156173"/>
                <a:gd name="connsiteY34" fmla="*/ 1512805 h 2097925"/>
                <a:gd name="connsiteX35" fmla="*/ 11629621 w 12156173"/>
                <a:gd name="connsiteY35" fmla="*/ 1446392 h 2097925"/>
                <a:gd name="connsiteX36" fmla="*/ 11560283 w 12156173"/>
                <a:gd name="connsiteY36" fmla="*/ 1442736 h 2097925"/>
                <a:gd name="connsiteX37" fmla="*/ 11560954 w 12156173"/>
                <a:gd name="connsiteY37" fmla="*/ 1436643 h 2097925"/>
                <a:gd name="connsiteX38" fmla="*/ 11629621 w 12156173"/>
                <a:gd name="connsiteY38" fmla="*/ 1440238 h 2097925"/>
                <a:gd name="connsiteX39" fmla="*/ 11633459 w 12156173"/>
                <a:gd name="connsiteY39" fmla="*/ 1440238 h 2097925"/>
                <a:gd name="connsiteX40" fmla="*/ 11633459 w 12156173"/>
                <a:gd name="connsiteY40" fmla="*/ 1446331 h 2097925"/>
                <a:gd name="connsiteX41" fmla="*/ 11629560 w 12156173"/>
                <a:gd name="connsiteY41" fmla="*/ 1446331 h 2097925"/>
                <a:gd name="connsiteX42" fmla="*/ 11706758 w 12156173"/>
                <a:gd name="connsiteY42" fmla="*/ 1441335 h 2097925"/>
                <a:gd name="connsiteX43" fmla="*/ 11705904 w 12156173"/>
                <a:gd name="connsiteY43" fmla="*/ 1435242 h 2097925"/>
                <a:gd name="connsiteX44" fmla="*/ 11777070 w 12156173"/>
                <a:gd name="connsiteY44" fmla="*/ 1420741 h 2097925"/>
                <a:gd name="connsiteX45" fmla="*/ 11778655 w 12156173"/>
                <a:gd name="connsiteY45" fmla="*/ 1426834 h 2097925"/>
                <a:gd name="connsiteX46" fmla="*/ 11706819 w 12156173"/>
                <a:gd name="connsiteY46" fmla="*/ 1441335 h 2097925"/>
                <a:gd name="connsiteX47" fmla="*/ 11487838 w 12156173"/>
                <a:gd name="connsiteY47" fmla="*/ 1432013 h 2097925"/>
                <a:gd name="connsiteX48" fmla="*/ 11416428 w 12156173"/>
                <a:gd name="connsiteY48" fmla="*/ 1415866 h 2097925"/>
                <a:gd name="connsiteX49" fmla="*/ 11417951 w 12156173"/>
                <a:gd name="connsiteY49" fmla="*/ 1409773 h 2097925"/>
                <a:gd name="connsiteX50" fmla="*/ 11488995 w 12156173"/>
                <a:gd name="connsiteY50" fmla="*/ 1425859 h 2097925"/>
                <a:gd name="connsiteX51" fmla="*/ 777339 w 12156173"/>
                <a:gd name="connsiteY51" fmla="*/ 1425920 h 2097925"/>
                <a:gd name="connsiteX52" fmla="*/ 773806 w 12156173"/>
                <a:gd name="connsiteY52" fmla="*/ 1420923 h 2097925"/>
                <a:gd name="connsiteX53" fmla="*/ 833760 w 12156173"/>
                <a:gd name="connsiteY53" fmla="*/ 1378943 h 2097925"/>
                <a:gd name="connsiteX54" fmla="*/ 837233 w 12156173"/>
                <a:gd name="connsiteY54" fmla="*/ 1383939 h 2097925"/>
                <a:gd name="connsiteX55" fmla="*/ 777339 w 12156173"/>
                <a:gd name="connsiteY55" fmla="*/ 1426103 h 2097925"/>
                <a:gd name="connsiteX56" fmla="*/ 11848236 w 12156173"/>
                <a:gd name="connsiteY56" fmla="*/ 1402401 h 2097925"/>
                <a:gd name="connsiteX57" fmla="*/ 11845920 w 12156173"/>
                <a:gd name="connsiteY57" fmla="*/ 1396795 h 2097925"/>
                <a:gd name="connsiteX58" fmla="*/ 11911481 w 12156173"/>
                <a:gd name="connsiteY58" fmla="*/ 1365234 h 2097925"/>
                <a:gd name="connsiteX59" fmla="*/ 11914345 w 12156173"/>
                <a:gd name="connsiteY59" fmla="*/ 1370595 h 2097925"/>
                <a:gd name="connsiteX60" fmla="*/ 11847993 w 12156173"/>
                <a:gd name="connsiteY60" fmla="*/ 1402583 h 2097925"/>
                <a:gd name="connsiteX61" fmla="*/ 11346359 w 12156173"/>
                <a:gd name="connsiteY61" fmla="*/ 1395272 h 2097925"/>
                <a:gd name="connsiteX62" fmla="*/ 11277143 w 12156173"/>
                <a:gd name="connsiteY62" fmla="*/ 1371693 h 2097925"/>
                <a:gd name="connsiteX63" fmla="*/ 11279215 w 12156173"/>
                <a:gd name="connsiteY63" fmla="*/ 1365965 h 2097925"/>
                <a:gd name="connsiteX64" fmla="*/ 11348248 w 12156173"/>
                <a:gd name="connsiteY64" fmla="*/ 1389484 h 2097925"/>
                <a:gd name="connsiteX65" fmla="*/ 11208781 w 12156173"/>
                <a:gd name="connsiteY65" fmla="*/ 1345553 h 2097925"/>
                <a:gd name="connsiteX66" fmla="*/ 11141271 w 12156173"/>
                <a:gd name="connsiteY66" fmla="*/ 1317465 h 2097925"/>
                <a:gd name="connsiteX67" fmla="*/ 11143708 w 12156173"/>
                <a:gd name="connsiteY67" fmla="*/ 1311860 h 2097925"/>
                <a:gd name="connsiteX68" fmla="*/ 11211096 w 12156173"/>
                <a:gd name="connsiteY68" fmla="*/ 1339887 h 2097925"/>
                <a:gd name="connsiteX69" fmla="*/ 897919 w 12156173"/>
                <a:gd name="connsiteY69" fmla="*/ 1343056 h 2097925"/>
                <a:gd name="connsiteX70" fmla="*/ 894568 w 12156173"/>
                <a:gd name="connsiteY70" fmla="*/ 1337998 h 2097925"/>
                <a:gd name="connsiteX71" fmla="*/ 955802 w 12156173"/>
                <a:gd name="connsiteY71" fmla="*/ 1297846 h 2097925"/>
                <a:gd name="connsiteX72" fmla="*/ 959092 w 12156173"/>
                <a:gd name="connsiteY72" fmla="*/ 1302964 h 2097925"/>
                <a:gd name="connsiteX73" fmla="*/ 897919 w 12156173"/>
                <a:gd name="connsiteY73" fmla="*/ 1343056 h 2097925"/>
                <a:gd name="connsiteX74" fmla="*/ 11977346 w 12156173"/>
                <a:gd name="connsiteY74" fmla="*/ 1333490 h 2097925"/>
                <a:gd name="connsiteX75" fmla="*/ 11974116 w 12156173"/>
                <a:gd name="connsiteY75" fmla="*/ 1328310 h 2097925"/>
                <a:gd name="connsiteX76" fmla="*/ 12034620 w 12156173"/>
                <a:gd name="connsiteY76" fmla="*/ 1287609 h 2097925"/>
                <a:gd name="connsiteX77" fmla="*/ 12038153 w 12156173"/>
                <a:gd name="connsiteY77" fmla="*/ 1292606 h 2097925"/>
                <a:gd name="connsiteX78" fmla="*/ 11977163 w 12156173"/>
                <a:gd name="connsiteY78" fmla="*/ 1333490 h 2097925"/>
                <a:gd name="connsiteX79" fmla="*/ 11074370 w 12156173"/>
                <a:gd name="connsiteY79" fmla="*/ 1287975 h 2097925"/>
                <a:gd name="connsiteX80" fmla="*/ 11008139 w 12156173"/>
                <a:gd name="connsiteY80" fmla="*/ 1257023 h 2097925"/>
                <a:gd name="connsiteX81" fmla="*/ 11010760 w 12156173"/>
                <a:gd name="connsiteY81" fmla="*/ 1251539 h 2097925"/>
                <a:gd name="connsiteX82" fmla="*/ 11076929 w 12156173"/>
                <a:gd name="connsiteY82" fmla="*/ 1282431 h 2097925"/>
                <a:gd name="connsiteX83" fmla="*/ 1020997 w 12156173"/>
                <a:gd name="connsiteY83" fmla="*/ 1263603 h 2097925"/>
                <a:gd name="connsiteX84" fmla="*/ 1017767 w 12156173"/>
                <a:gd name="connsiteY84" fmla="*/ 1258424 h 2097925"/>
                <a:gd name="connsiteX85" fmla="*/ 1080281 w 12156173"/>
                <a:gd name="connsiteY85" fmla="*/ 1220282 h 2097925"/>
                <a:gd name="connsiteX86" fmla="*/ 1083449 w 12156173"/>
                <a:gd name="connsiteY86" fmla="*/ 1225522 h 2097925"/>
                <a:gd name="connsiteX87" fmla="*/ 1020692 w 12156173"/>
                <a:gd name="connsiteY87" fmla="*/ 1263908 h 2097925"/>
                <a:gd name="connsiteX88" fmla="*/ 12097560 w 12156173"/>
                <a:gd name="connsiteY88" fmla="*/ 1249468 h 2097925"/>
                <a:gd name="connsiteX89" fmla="*/ 12093965 w 12156173"/>
                <a:gd name="connsiteY89" fmla="*/ 1244593 h 2097925"/>
                <a:gd name="connsiteX90" fmla="*/ 12152518 w 12156173"/>
                <a:gd name="connsiteY90" fmla="*/ 1200907 h 2097925"/>
                <a:gd name="connsiteX91" fmla="*/ 12156174 w 12156173"/>
                <a:gd name="connsiteY91" fmla="*/ 1205781 h 2097925"/>
                <a:gd name="connsiteX92" fmla="*/ 12097255 w 12156173"/>
                <a:gd name="connsiteY92" fmla="*/ 1249772 h 2097925"/>
                <a:gd name="connsiteX93" fmla="*/ 10942519 w 12156173"/>
                <a:gd name="connsiteY93" fmla="*/ 1224730 h 2097925"/>
                <a:gd name="connsiteX94" fmla="*/ 10877263 w 12156173"/>
                <a:gd name="connsiteY94" fmla="*/ 1191828 h 2097925"/>
                <a:gd name="connsiteX95" fmla="*/ 10880005 w 12156173"/>
                <a:gd name="connsiteY95" fmla="*/ 1186345 h 2097925"/>
                <a:gd name="connsiteX96" fmla="*/ 10945260 w 12156173"/>
                <a:gd name="connsiteY96" fmla="*/ 1219247 h 2097925"/>
                <a:gd name="connsiteX97" fmla="*/ 1146207 w 12156173"/>
                <a:gd name="connsiteY97" fmla="*/ 1188843 h 2097925"/>
                <a:gd name="connsiteX98" fmla="*/ 1143160 w 12156173"/>
                <a:gd name="connsiteY98" fmla="*/ 1183603 h 2097925"/>
                <a:gd name="connsiteX99" fmla="*/ 1207015 w 12156173"/>
                <a:gd name="connsiteY99" fmla="*/ 1147715 h 2097925"/>
                <a:gd name="connsiteX100" fmla="*/ 1209939 w 12156173"/>
                <a:gd name="connsiteY100" fmla="*/ 1153077 h 2097925"/>
                <a:gd name="connsiteX101" fmla="*/ 1146207 w 12156173"/>
                <a:gd name="connsiteY101" fmla="*/ 1188843 h 2097925"/>
                <a:gd name="connsiteX102" fmla="*/ 10812068 w 12156173"/>
                <a:gd name="connsiteY102" fmla="*/ 1158378 h 2097925"/>
                <a:gd name="connsiteX103" fmla="*/ 10747483 w 12156173"/>
                <a:gd name="connsiteY103" fmla="*/ 1124075 h 2097925"/>
                <a:gd name="connsiteX104" fmla="*/ 10750347 w 12156173"/>
                <a:gd name="connsiteY104" fmla="*/ 1118713 h 2097925"/>
                <a:gd name="connsiteX105" fmla="*/ 10814871 w 12156173"/>
                <a:gd name="connsiteY105" fmla="*/ 1153016 h 2097925"/>
                <a:gd name="connsiteX106" fmla="*/ 4881736 w 12156173"/>
                <a:gd name="connsiteY106" fmla="*/ 1138881 h 2097925"/>
                <a:gd name="connsiteX107" fmla="*/ 4843107 w 12156173"/>
                <a:gd name="connsiteY107" fmla="*/ 1138881 h 2097925"/>
                <a:gd name="connsiteX108" fmla="*/ 4843107 w 12156173"/>
                <a:gd name="connsiteY108" fmla="*/ 1132788 h 2097925"/>
                <a:gd name="connsiteX109" fmla="*/ 4881675 w 12156173"/>
                <a:gd name="connsiteY109" fmla="*/ 1132788 h 2097925"/>
                <a:gd name="connsiteX110" fmla="*/ 4916283 w 12156173"/>
                <a:gd name="connsiteY110" fmla="*/ 1132788 h 2097925"/>
                <a:gd name="connsiteX111" fmla="*/ 4916283 w 12156173"/>
                <a:gd name="connsiteY111" fmla="*/ 1138881 h 2097925"/>
                <a:gd name="connsiteX112" fmla="*/ 4989642 w 12156173"/>
                <a:gd name="connsiteY112" fmla="*/ 1137723 h 2097925"/>
                <a:gd name="connsiteX113" fmla="*/ 4989642 w 12156173"/>
                <a:gd name="connsiteY113" fmla="*/ 1131630 h 2097925"/>
                <a:gd name="connsiteX114" fmla="*/ 5062758 w 12156173"/>
                <a:gd name="connsiteY114" fmla="*/ 1129437 h 2097925"/>
                <a:gd name="connsiteX115" fmla="*/ 5062758 w 12156173"/>
                <a:gd name="connsiteY115" fmla="*/ 1135530 h 2097925"/>
                <a:gd name="connsiteX116" fmla="*/ 4989642 w 12156173"/>
                <a:gd name="connsiteY116" fmla="*/ 1137784 h 2097925"/>
                <a:gd name="connsiteX117" fmla="*/ 4769869 w 12156173"/>
                <a:gd name="connsiteY117" fmla="*/ 1137723 h 2097925"/>
                <a:gd name="connsiteX118" fmla="*/ 4696754 w 12156173"/>
                <a:gd name="connsiteY118" fmla="*/ 1135651 h 2097925"/>
                <a:gd name="connsiteX119" fmla="*/ 4696754 w 12156173"/>
                <a:gd name="connsiteY119" fmla="*/ 1129558 h 2097925"/>
                <a:gd name="connsiteX120" fmla="*/ 4769869 w 12156173"/>
                <a:gd name="connsiteY120" fmla="*/ 1131630 h 2097925"/>
                <a:gd name="connsiteX121" fmla="*/ 4623638 w 12156173"/>
                <a:gd name="connsiteY121" fmla="*/ 1132605 h 2097925"/>
                <a:gd name="connsiteX122" fmla="*/ 4550523 w 12156173"/>
                <a:gd name="connsiteY122" fmla="*/ 1128644 h 2097925"/>
                <a:gd name="connsiteX123" fmla="*/ 4550888 w 12156173"/>
                <a:gd name="connsiteY123" fmla="*/ 1122552 h 2097925"/>
                <a:gd name="connsiteX124" fmla="*/ 4624004 w 12156173"/>
                <a:gd name="connsiteY124" fmla="*/ 1126512 h 2097925"/>
                <a:gd name="connsiteX125" fmla="*/ 5135995 w 12156173"/>
                <a:gd name="connsiteY125" fmla="*/ 1132239 h 2097925"/>
                <a:gd name="connsiteX126" fmla="*/ 5135690 w 12156173"/>
                <a:gd name="connsiteY126" fmla="*/ 1126146 h 2097925"/>
                <a:gd name="connsiteX127" fmla="*/ 5208806 w 12156173"/>
                <a:gd name="connsiteY127" fmla="*/ 1121576 h 2097925"/>
                <a:gd name="connsiteX128" fmla="*/ 5209232 w 12156173"/>
                <a:gd name="connsiteY128" fmla="*/ 1127669 h 2097925"/>
                <a:gd name="connsiteX129" fmla="*/ 5135995 w 12156173"/>
                <a:gd name="connsiteY129" fmla="*/ 1132239 h 2097925"/>
                <a:gd name="connsiteX130" fmla="*/ 4477590 w 12156173"/>
                <a:gd name="connsiteY130" fmla="*/ 1123831 h 2097925"/>
                <a:gd name="connsiteX131" fmla="*/ 4404475 w 12156173"/>
                <a:gd name="connsiteY131" fmla="*/ 1118164 h 2097925"/>
                <a:gd name="connsiteX132" fmla="*/ 4405023 w 12156173"/>
                <a:gd name="connsiteY132" fmla="*/ 1112071 h 2097925"/>
                <a:gd name="connsiteX133" fmla="*/ 4478139 w 12156173"/>
                <a:gd name="connsiteY133" fmla="*/ 1117738 h 2097925"/>
                <a:gd name="connsiteX134" fmla="*/ 5281860 w 12156173"/>
                <a:gd name="connsiteY134" fmla="*/ 1121820 h 2097925"/>
                <a:gd name="connsiteX135" fmla="*/ 5281312 w 12156173"/>
                <a:gd name="connsiteY135" fmla="*/ 1115727 h 2097925"/>
                <a:gd name="connsiteX136" fmla="*/ 5354062 w 12156173"/>
                <a:gd name="connsiteY136" fmla="*/ 1108659 h 2097925"/>
                <a:gd name="connsiteX137" fmla="*/ 5354732 w 12156173"/>
                <a:gd name="connsiteY137" fmla="*/ 1114752 h 2097925"/>
                <a:gd name="connsiteX138" fmla="*/ 5282165 w 12156173"/>
                <a:gd name="connsiteY138" fmla="*/ 1121820 h 2097925"/>
                <a:gd name="connsiteX139" fmla="*/ 1274037 w 12156173"/>
                <a:gd name="connsiteY139" fmla="*/ 1118469 h 2097925"/>
                <a:gd name="connsiteX140" fmla="*/ 1271234 w 12156173"/>
                <a:gd name="connsiteY140" fmla="*/ 1113047 h 2097925"/>
                <a:gd name="connsiteX141" fmla="*/ 1336368 w 12156173"/>
                <a:gd name="connsiteY141" fmla="*/ 1079718 h 2097925"/>
                <a:gd name="connsiteX142" fmla="*/ 1339110 w 12156173"/>
                <a:gd name="connsiteY142" fmla="*/ 1085141 h 2097925"/>
                <a:gd name="connsiteX143" fmla="*/ 1274342 w 12156173"/>
                <a:gd name="connsiteY143" fmla="*/ 1118469 h 2097925"/>
                <a:gd name="connsiteX144" fmla="*/ 4331482 w 12156173"/>
                <a:gd name="connsiteY144" fmla="*/ 1111645 h 2097925"/>
                <a:gd name="connsiteX145" fmla="*/ 4258732 w 12156173"/>
                <a:gd name="connsiteY145" fmla="*/ 1104394 h 2097925"/>
                <a:gd name="connsiteX146" fmla="*/ 4259341 w 12156173"/>
                <a:gd name="connsiteY146" fmla="*/ 1098301 h 2097925"/>
                <a:gd name="connsiteX147" fmla="*/ 4332091 w 12156173"/>
                <a:gd name="connsiteY147" fmla="*/ 1105552 h 2097925"/>
                <a:gd name="connsiteX148" fmla="*/ 5427482 w 12156173"/>
                <a:gd name="connsiteY148" fmla="*/ 1106222 h 2097925"/>
                <a:gd name="connsiteX149" fmla="*/ 5426751 w 12156173"/>
                <a:gd name="connsiteY149" fmla="*/ 1100130 h 2097925"/>
                <a:gd name="connsiteX150" fmla="*/ 5499196 w 12156173"/>
                <a:gd name="connsiteY150" fmla="*/ 1090320 h 2097925"/>
                <a:gd name="connsiteX151" fmla="*/ 5500049 w 12156173"/>
                <a:gd name="connsiteY151" fmla="*/ 1096413 h 2097925"/>
                <a:gd name="connsiteX152" fmla="*/ 5427787 w 12156173"/>
                <a:gd name="connsiteY152" fmla="*/ 1106222 h 2097925"/>
                <a:gd name="connsiteX153" fmla="*/ 4186042 w 12156173"/>
                <a:gd name="connsiteY153" fmla="*/ 1096352 h 2097925"/>
                <a:gd name="connsiteX154" fmla="*/ 4113414 w 12156173"/>
                <a:gd name="connsiteY154" fmla="*/ 1087639 h 2097925"/>
                <a:gd name="connsiteX155" fmla="*/ 4114145 w 12156173"/>
                <a:gd name="connsiteY155" fmla="*/ 1081546 h 2097925"/>
                <a:gd name="connsiteX156" fmla="*/ 4186713 w 12156173"/>
                <a:gd name="connsiteY156" fmla="*/ 1090259 h 2097925"/>
                <a:gd name="connsiteX157" fmla="*/ 10683202 w 12156173"/>
                <a:gd name="connsiteY157" fmla="*/ 1089345 h 2097925"/>
                <a:gd name="connsiteX158" fmla="*/ 10619165 w 12156173"/>
                <a:gd name="connsiteY158" fmla="*/ 1054067 h 2097925"/>
                <a:gd name="connsiteX159" fmla="*/ 10622151 w 12156173"/>
                <a:gd name="connsiteY159" fmla="*/ 1048705 h 2097925"/>
                <a:gd name="connsiteX160" fmla="*/ 10686127 w 12156173"/>
                <a:gd name="connsiteY160" fmla="*/ 1083983 h 2097925"/>
                <a:gd name="connsiteX161" fmla="*/ 5572738 w 12156173"/>
                <a:gd name="connsiteY161" fmla="*/ 1085141 h 2097925"/>
                <a:gd name="connsiteX162" fmla="*/ 5571702 w 12156173"/>
                <a:gd name="connsiteY162" fmla="*/ 1079048 h 2097925"/>
                <a:gd name="connsiteX163" fmla="*/ 5643721 w 12156173"/>
                <a:gd name="connsiteY163" fmla="*/ 1066313 h 2097925"/>
                <a:gd name="connsiteX164" fmla="*/ 5644818 w 12156173"/>
                <a:gd name="connsiteY164" fmla="*/ 1072406 h 2097925"/>
                <a:gd name="connsiteX165" fmla="*/ 5572738 w 12156173"/>
                <a:gd name="connsiteY165" fmla="*/ 1085141 h 2097925"/>
                <a:gd name="connsiteX166" fmla="*/ 4041152 w 12156173"/>
                <a:gd name="connsiteY166" fmla="*/ 1078256 h 2097925"/>
                <a:gd name="connsiteX167" fmla="*/ 3968768 w 12156173"/>
                <a:gd name="connsiteY167" fmla="*/ 1068020 h 2097925"/>
                <a:gd name="connsiteX168" fmla="*/ 3969621 w 12156173"/>
                <a:gd name="connsiteY168" fmla="*/ 1061927 h 2097925"/>
                <a:gd name="connsiteX169" fmla="*/ 4042005 w 12156173"/>
                <a:gd name="connsiteY169" fmla="*/ 1071980 h 2097925"/>
                <a:gd name="connsiteX170" fmla="*/ 5716714 w 12156173"/>
                <a:gd name="connsiteY170" fmla="*/ 1058271 h 2097925"/>
                <a:gd name="connsiteX171" fmla="*/ 5715496 w 12156173"/>
                <a:gd name="connsiteY171" fmla="*/ 1052178 h 2097925"/>
                <a:gd name="connsiteX172" fmla="*/ 5786844 w 12156173"/>
                <a:gd name="connsiteY172" fmla="*/ 1036458 h 2097925"/>
                <a:gd name="connsiteX173" fmla="*/ 5788246 w 12156173"/>
                <a:gd name="connsiteY173" fmla="*/ 1042551 h 2097925"/>
                <a:gd name="connsiteX174" fmla="*/ 5716653 w 12156173"/>
                <a:gd name="connsiteY174" fmla="*/ 1058271 h 2097925"/>
                <a:gd name="connsiteX175" fmla="*/ 3896383 w 12156173"/>
                <a:gd name="connsiteY175" fmla="*/ 1057540 h 2097925"/>
                <a:gd name="connsiteX176" fmla="*/ 3824121 w 12156173"/>
                <a:gd name="connsiteY176" fmla="*/ 1046268 h 2097925"/>
                <a:gd name="connsiteX177" fmla="*/ 3825096 w 12156173"/>
                <a:gd name="connsiteY177" fmla="*/ 1040175 h 2097925"/>
                <a:gd name="connsiteX178" fmla="*/ 3897297 w 12156173"/>
                <a:gd name="connsiteY178" fmla="*/ 1051447 h 2097925"/>
                <a:gd name="connsiteX179" fmla="*/ 1405218 w 12156173"/>
                <a:gd name="connsiteY179" fmla="*/ 1053153 h 2097925"/>
                <a:gd name="connsiteX180" fmla="*/ 1402598 w 12156173"/>
                <a:gd name="connsiteY180" fmla="*/ 1047669 h 2097925"/>
                <a:gd name="connsiteX181" fmla="*/ 1468890 w 12156173"/>
                <a:gd name="connsiteY181" fmla="*/ 1017204 h 2097925"/>
                <a:gd name="connsiteX182" fmla="*/ 1471388 w 12156173"/>
                <a:gd name="connsiteY182" fmla="*/ 1022810 h 2097925"/>
                <a:gd name="connsiteX183" fmla="*/ 1405157 w 12156173"/>
                <a:gd name="connsiteY183" fmla="*/ 1053153 h 2097925"/>
                <a:gd name="connsiteX184" fmla="*/ 3751980 w 12156173"/>
                <a:gd name="connsiteY184" fmla="*/ 1034447 h 2097925"/>
                <a:gd name="connsiteX185" fmla="*/ 3679901 w 12156173"/>
                <a:gd name="connsiteY185" fmla="*/ 1022261 h 2097925"/>
                <a:gd name="connsiteX186" fmla="*/ 3680937 w 12156173"/>
                <a:gd name="connsiteY186" fmla="*/ 1016168 h 2097925"/>
                <a:gd name="connsiteX187" fmla="*/ 3752955 w 12156173"/>
                <a:gd name="connsiteY187" fmla="*/ 1028354 h 2097925"/>
                <a:gd name="connsiteX188" fmla="*/ 5859290 w 12156173"/>
                <a:gd name="connsiteY188" fmla="*/ 1025369 h 2097925"/>
                <a:gd name="connsiteX189" fmla="*/ 5857766 w 12156173"/>
                <a:gd name="connsiteY189" fmla="*/ 1019276 h 2097925"/>
                <a:gd name="connsiteX190" fmla="*/ 5928384 w 12156173"/>
                <a:gd name="connsiteY190" fmla="*/ 1000448 h 2097925"/>
                <a:gd name="connsiteX191" fmla="*/ 5930029 w 12156173"/>
                <a:gd name="connsiteY191" fmla="*/ 1006541 h 2097925"/>
                <a:gd name="connsiteX192" fmla="*/ 5859290 w 12156173"/>
                <a:gd name="connsiteY192" fmla="*/ 1025369 h 2097925"/>
                <a:gd name="connsiteX193" fmla="*/ 10555250 w 12156173"/>
                <a:gd name="connsiteY193" fmla="*/ 1018301 h 2097925"/>
                <a:gd name="connsiteX194" fmla="*/ 10491640 w 12156173"/>
                <a:gd name="connsiteY194" fmla="*/ 982292 h 2097925"/>
                <a:gd name="connsiteX195" fmla="*/ 10494687 w 12156173"/>
                <a:gd name="connsiteY195" fmla="*/ 976991 h 2097925"/>
                <a:gd name="connsiteX196" fmla="*/ 10558236 w 12156173"/>
                <a:gd name="connsiteY196" fmla="*/ 1013000 h 2097925"/>
                <a:gd name="connsiteX197" fmla="*/ 3607821 w 12156173"/>
                <a:gd name="connsiteY197" fmla="*/ 1009222 h 2097925"/>
                <a:gd name="connsiteX198" fmla="*/ 3535924 w 12156173"/>
                <a:gd name="connsiteY198" fmla="*/ 995879 h 2097925"/>
                <a:gd name="connsiteX199" fmla="*/ 3537021 w 12156173"/>
                <a:gd name="connsiteY199" fmla="*/ 989786 h 2097925"/>
                <a:gd name="connsiteX200" fmla="*/ 3608918 w 12156173"/>
                <a:gd name="connsiteY200" fmla="*/ 1003129 h 2097925"/>
                <a:gd name="connsiteX201" fmla="*/ 1538228 w 12156173"/>
                <a:gd name="connsiteY201" fmla="*/ 993624 h 2097925"/>
                <a:gd name="connsiteX202" fmla="*/ 1535912 w 12156173"/>
                <a:gd name="connsiteY202" fmla="*/ 988019 h 2097925"/>
                <a:gd name="connsiteX203" fmla="*/ 1603666 w 12156173"/>
                <a:gd name="connsiteY203" fmla="*/ 960479 h 2097925"/>
                <a:gd name="connsiteX204" fmla="*/ 1605859 w 12156173"/>
                <a:gd name="connsiteY204" fmla="*/ 966206 h 2097925"/>
                <a:gd name="connsiteX205" fmla="*/ 1538228 w 12156173"/>
                <a:gd name="connsiteY205" fmla="*/ 993624 h 2097925"/>
                <a:gd name="connsiteX206" fmla="*/ 6000280 w 12156173"/>
                <a:gd name="connsiteY206" fmla="*/ 985948 h 2097925"/>
                <a:gd name="connsiteX207" fmla="*/ 5998513 w 12156173"/>
                <a:gd name="connsiteY207" fmla="*/ 979855 h 2097925"/>
                <a:gd name="connsiteX208" fmla="*/ 6068156 w 12156173"/>
                <a:gd name="connsiteY208" fmla="*/ 957859 h 2097925"/>
                <a:gd name="connsiteX209" fmla="*/ 6070045 w 12156173"/>
                <a:gd name="connsiteY209" fmla="*/ 963586 h 2097925"/>
                <a:gd name="connsiteX210" fmla="*/ 6000280 w 12156173"/>
                <a:gd name="connsiteY210" fmla="*/ 985948 h 2097925"/>
                <a:gd name="connsiteX211" fmla="*/ 3464088 w 12156173"/>
                <a:gd name="connsiteY211" fmla="*/ 982109 h 2097925"/>
                <a:gd name="connsiteX212" fmla="*/ 3392374 w 12156173"/>
                <a:gd name="connsiteY212" fmla="*/ 967851 h 2097925"/>
                <a:gd name="connsiteX213" fmla="*/ 3393593 w 12156173"/>
                <a:gd name="connsiteY213" fmla="*/ 961758 h 2097925"/>
                <a:gd name="connsiteX214" fmla="*/ 3465246 w 12156173"/>
                <a:gd name="connsiteY214" fmla="*/ 975955 h 2097925"/>
                <a:gd name="connsiteX215" fmla="*/ 3320721 w 12156173"/>
                <a:gd name="connsiteY215" fmla="*/ 953167 h 2097925"/>
                <a:gd name="connsiteX216" fmla="*/ 3249129 w 12156173"/>
                <a:gd name="connsiteY216" fmla="*/ 938118 h 2097925"/>
                <a:gd name="connsiteX217" fmla="*/ 3250408 w 12156173"/>
                <a:gd name="connsiteY217" fmla="*/ 932025 h 2097925"/>
                <a:gd name="connsiteX218" fmla="*/ 3321940 w 12156173"/>
                <a:gd name="connsiteY218" fmla="*/ 947075 h 2097925"/>
                <a:gd name="connsiteX219" fmla="*/ 10428395 w 12156173"/>
                <a:gd name="connsiteY219" fmla="*/ 946160 h 2097925"/>
                <a:gd name="connsiteX220" fmla="*/ 10365090 w 12156173"/>
                <a:gd name="connsiteY220" fmla="*/ 909603 h 2097925"/>
                <a:gd name="connsiteX221" fmla="*/ 10368197 w 12156173"/>
                <a:gd name="connsiteY221" fmla="*/ 904363 h 2097925"/>
                <a:gd name="connsiteX222" fmla="*/ 10431442 w 12156173"/>
                <a:gd name="connsiteY222" fmla="*/ 940921 h 2097925"/>
                <a:gd name="connsiteX223" fmla="*/ 1674161 w 12156173"/>
                <a:gd name="connsiteY223" fmla="*/ 940372 h 2097925"/>
                <a:gd name="connsiteX224" fmla="*/ 1672090 w 12156173"/>
                <a:gd name="connsiteY224" fmla="*/ 934645 h 2097925"/>
                <a:gd name="connsiteX225" fmla="*/ 1741184 w 12156173"/>
                <a:gd name="connsiteY225" fmla="*/ 910273 h 2097925"/>
                <a:gd name="connsiteX226" fmla="*/ 1743134 w 12156173"/>
                <a:gd name="connsiteY226" fmla="*/ 916366 h 2097925"/>
                <a:gd name="connsiteX227" fmla="*/ 1674161 w 12156173"/>
                <a:gd name="connsiteY227" fmla="*/ 940372 h 2097925"/>
                <a:gd name="connsiteX228" fmla="*/ 6139322 w 12156173"/>
                <a:gd name="connsiteY228" fmla="*/ 940372 h 2097925"/>
                <a:gd name="connsiteX229" fmla="*/ 6137250 w 12156173"/>
                <a:gd name="connsiteY229" fmla="*/ 934645 h 2097925"/>
                <a:gd name="connsiteX230" fmla="*/ 6205735 w 12156173"/>
                <a:gd name="connsiteY230" fmla="*/ 909359 h 2097925"/>
                <a:gd name="connsiteX231" fmla="*/ 6207928 w 12156173"/>
                <a:gd name="connsiteY231" fmla="*/ 915026 h 2097925"/>
                <a:gd name="connsiteX232" fmla="*/ 6139322 w 12156173"/>
                <a:gd name="connsiteY232" fmla="*/ 940067 h 2097925"/>
                <a:gd name="connsiteX233" fmla="*/ 3177658 w 12156173"/>
                <a:gd name="connsiteY233" fmla="*/ 922885 h 2097925"/>
                <a:gd name="connsiteX234" fmla="*/ 3106249 w 12156173"/>
                <a:gd name="connsiteY234" fmla="*/ 907105 h 2097925"/>
                <a:gd name="connsiteX235" fmla="*/ 3107590 w 12156173"/>
                <a:gd name="connsiteY235" fmla="*/ 901012 h 2097925"/>
                <a:gd name="connsiteX236" fmla="*/ 3178999 w 12156173"/>
                <a:gd name="connsiteY236" fmla="*/ 916792 h 2097925"/>
                <a:gd name="connsiteX237" fmla="*/ 1812837 w 12156173"/>
                <a:gd name="connsiteY237" fmla="*/ 894309 h 2097925"/>
                <a:gd name="connsiteX238" fmla="*/ 1811009 w 12156173"/>
                <a:gd name="connsiteY238" fmla="*/ 888216 h 2097925"/>
                <a:gd name="connsiteX239" fmla="*/ 1881383 w 12156173"/>
                <a:gd name="connsiteY239" fmla="*/ 867927 h 2097925"/>
                <a:gd name="connsiteX240" fmla="*/ 1883028 w 12156173"/>
                <a:gd name="connsiteY240" fmla="*/ 874020 h 2097925"/>
                <a:gd name="connsiteX241" fmla="*/ 1812715 w 12156173"/>
                <a:gd name="connsiteY241" fmla="*/ 894066 h 2097925"/>
                <a:gd name="connsiteX242" fmla="*/ 3035084 w 12156173"/>
                <a:gd name="connsiteY242" fmla="*/ 890958 h 2097925"/>
                <a:gd name="connsiteX243" fmla="*/ 2963430 w 12156173"/>
                <a:gd name="connsiteY243" fmla="*/ 874264 h 2097925"/>
                <a:gd name="connsiteX244" fmla="*/ 2964832 w 12156173"/>
                <a:gd name="connsiteY244" fmla="*/ 868171 h 2097925"/>
                <a:gd name="connsiteX245" fmla="*/ 3036058 w 12156173"/>
                <a:gd name="connsiteY245" fmla="*/ 884622 h 2097925"/>
                <a:gd name="connsiteX246" fmla="*/ 6276048 w 12156173"/>
                <a:gd name="connsiteY246" fmla="*/ 888034 h 2097925"/>
                <a:gd name="connsiteX247" fmla="*/ 6273732 w 12156173"/>
                <a:gd name="connsiteY247" fmla="*/ 882428 h 2097925"/>
                <a:gd name="connsiteX248" fmla="*/ 6340755 w 12156173"/>
                <a:gd name="connsiteY248" fmla="*/ 853791 h 2097925"/>
                <a:gd name="connsiteX249" fmla="*/ 6343192 w 12156173"/>
                <a:gd name="connsiteY249" fmla="*/ 859397 h 2097925"/>
                <a:gd name="connsiteX250" fmla="*/ 6275926 w 12156173"/>
                <a:gd name="connsiteY250" fmla="*/ 887790 h 2097925"/>
                <a:gd name="connsiteX251" fmla="*/ 10302149 w 12156173"/>
                <a:gd name="connsiteY251" fmla="*/ 872557 h 2097925"/>
                <a:gd name="connsiteX252" fmla="*/ 10239148 w 12156173"/>
                <a:gd name="connsiteY252" fmla="*/ 835452 h 2097925"/>
                <a:gd name="connsiteX253" fmla="*/ 10242255 w 12156173"/>
                <a:gd name="connsiteY253" fmla="*/ 830211 h 2097925"/>
                <a:gd name="connsiteX254" fmla="*/ 10305195 w 12156173"/>
                <a:gd name="connsiteY254" fmla="*/ 867318 h 2097925"/>
                <a:gd name="connsiteX255" fmla="*/ 2892326 w 12156173"/>
                <a:gd name="connsiteY255" fmla="*/ 857447 h 2097925"/>
                <a:gd name="connsiteX256" fmla="*/ 2831396 w 12156173"/>
                <a:gd name="connsiteY256" fmla="*/ 842824 h 2097925"/>
                <a:gd name="connsiteX257" fmla="*/ 2821282 w 12156173"/>
                <a:gd name="connsiteY257" fmla="*/ 840387 h 2097925"/>
                <a:gd name="connsiteX258" fmla="*/ 2822622 w 12156173"/>
                <a:gd name="connsiteY258" fmla="*/ 834294 h 2097925"/>
                <a:gd name="connsiteX259" fmla="*/ 2832858 w 12156173"/>
                <a:gd name="connsiteY259" fmla="*/ 836670 h 2097925"/>
                <a:gd name="connsiteX260" fmla="*/ 2893788 w 12156173"/>
                <a:gd name="connsiteY260" fmla="*/ 851354 h 2097925"/>
                <a:gd name="connsiteX261" fmla="*/ 1953645 w 12156173"/>
                <a:gd name="connsiteY261" fmla="*/ 855680 h 2097925"/>
                <a:gd name="connsiteX262" fmla="*/ 1952183 w 12156173"/>
                <a:gd name="connsiteY262" fmla="*/ 849587 h 2097925"/>
                <a:gd name="connsiteX263" fmla="*/ 2023653 w 12156173"/>
                <a:gd name="connsiteY263" fmla="*/ 833624 h 2097925"/>
                <a:gd name="connsiteX264" fmla="*/ 2024872 w 12156173"/>
                <a:gd name="connsiteY264" fmla="*/ 839717 h 2097925"/>
                <a:gd name="connsiteX265" fmla="*/ 1953645 w 12156173"/>
                <a:gd name="connsiteY265" fmla="*/ 855680 h 2097925"/>
                <a:gd name="connsiteX266" fmla="*/ 6409788 w 12156173"/>
                <a:gd name="connsiteY266" fmla="*/ 828871 h 2097925"/>
                <a:gd name="connsiteX267" fmla="*/ 6407168 w 12156173"/>
                <a:gd name="connsiteY267" fmla="*/ 823327 h 2097925"/>
                <a:gd name="connsiteX268" fmla="*/ 6469925 w 12156173"/>
                <a:gd name="connsiteY268" fmla="*/ 792862 h 2097925"/>
                <a:gd name="connsiteX269" fmla="*/ 6472911 w 12156173"/>
                <a:gd name="connsiteY269" fmla="*/ 791339 h 2097925"/>
                <a:gd name="connsiteX270" fmla="*/ 6475652 w 12156173"/>
                <a:gd name="connsiteY270" fmla="*/ 796761 h 2097925"/>
                <a:gd name="connsiteX271" fmla="*/ 6472606 w 12156173"/>
                <a:gd name="connsiteY271" fmla="*/ 798284 h 2097925"/>
                <a:gd name="connsiteX272" fmla="*/ 6409788 w 12156173"/>
                <a:gd name="connsiteY272" fmla="*/ 828871 h 2097925"/>
                <a:gd name="connsiteX273" fmla="*/ 2096586 w 12156173"/>
                <a:gd name="connsiteY273" fmla="*/ 826008 h 2097925"/>
                <a:gd name="connsiteX274" fmla="*/ 2095550 w 12156173"/>
                <a:gd name="connsiteY274" fmla="*/ 819915 h 2097925"/>
                <a:gd name="connsiteX275" fmla="*/ 2167813 w 12156173"/>
                <a:gd name="connsiteY275" fmla="*/ 808642 h 2097925"/>
                <a:gd name="connsiteX276" fmla="*/ 2168666 w 12156173"/>
                <a:gd name="connsiteY276" fmla="*/ 814735 h 2097925"/>
                <a:gd name="connsiteX277" fmla="*/ 2096586 w 12156173"/>
                <a:gd name="connsiteY277" fmla="*/ 826008 h 2097925"/>
                <a:gd name="connsiteX278" fmla="*/ 2749690 w 12156173"/>
                <a:gd name="connsiteY278" fmla="*/ 825337 h 2097925"/>
                <a:gd name="connsiteX279" fmla="*/ 2677671 w 12156173"/>
                <a:gd name="connsiteY279" fmla="*/ 813151 h 2097925"/>
                <a:gd name="connsiteX280" fmla="*/ 2678524 w 12156173"/>
                <a:gd name="connsiteY280" fmla="*/ 807058 h 2097925"/>
                <a:gd name="connsiteX281" fmla="*/ 2750786 w 12156173"/>
                <a:gd name="connsiteY281" fmla="*/ 819244 h 2097925"/>
                <a:gd name="connsiteX282" fmla="*/ 2241050 w 12156173"/>
                <a:gd name="connsiteY282" fmla="*/ 806022 h 2097925"/>
                <a:gd name="connsiteX283" fmla="*/ 2240440 w 12156173"/>
                <a:gd name="connsiteY283" fmla="*/ 799930 h 2097925"/>
                <a:gd name="connsiteX284" fmla="*/ 2313556 w 12156173"/>
                <a:gd name="connsiteY284" fmla="*/ 793837 h 2097925"/>
                <a:gd name="connsiteX285" fmla="*/ 2313921 w 12156173"/>
                <a:gd name="connsiteY285" fmla="*/ 799930 h 2097925"/>
                <a:gd name="connsiteX286" fmla="*/ 2241050 w 12156173"/>
                <a:gd name="connsiteY286" fmla="*/ 806022 h 2097925"/>
                <a:gd name="connsiteX287" fmla="*/ 2605226 w 12156173"/>
                <a:gd name="connsiteY287" fmla="*/ 804560 h 2097925"/>
                <a:gd name="connsiteX288" fmla="*/ 2532476 w 12156173"/>
                <a:gd name="connsiteY288" fmla="*/ 798894 h 2097925"/>
                <a:gd name="connsiteX289" fmla="*/ 2532841 w 12156173"/>
                <a:gd name="connsiteY289" fmla="*/ 792801 h 2097925"/>
                <a:gd name="connsiteX290" fmla="*/ 2605957 w 12156173"/>
                <a:gd name="connsiteY290" fmla="*/ 798406 h 2097925"/>
                <a:gd name="connsiteX291" fmla="*/ 10176147 w 12156173"/>
                <a:gd name="connsiteY291" fmla="*/ 797797 h 2097925"/>
                <a:gd name="connsiteX292" fmla="*/ 10113389 w 12156173"/>
                <a:gd name="connsiteY292" fmla="*/ 760325 h 2097925"/>
                <a:gd name="connsiteX293" fmla="*/ 10116497 w 12156173"/>
                <a:gd name="connsiteY293" fmla="*/ 755085 h 2097925"/>
                <a:gd name="connsiteX294" fmla="*/ 10179254 w 12156173"/>
                <a:gd name="connsiteY294" fmla="*/ 792557 h 2097925"/>
                <a:gd name="connsiteX295" fmla="*/ 2386550 w 12156173"/>
                <a:gd name="connsiteY295" fmla="*/ 796700 h 2097925"/>
                <a:gd name="connsiteX296" fmla="*/ 2386550 w 12156173"/>
                <a:gd name="connsiteY296" fmla="*/ 790607 h 2097925"/>
                <a:gd name="connsiteX297" fmla="*/ 2459665 w 12156173"/>
                <a:gd name="connsiteY297" fmla="*/ 790242 h 2097925"/>
                <a:gd name="connsiteX298" fmla="*/ 2459665 w 12156173"/>
                <a:gd name="connsiteY298" fmla="*/ 796335 h 2097925"/>
                <a:gd name="connsiteX299" fmla="*/ 2386550 w 12156173"/>
                <a:gd name="connsiteY299" fmla="*/ 796822 h 2097925"/>
                <a:gd name="connsiteX300" fmla="*/ 6539994 w 12156173"/>
                <a:gd name="connsiteY300" fmla="*/ 762153 h 2097925"/>
                <a:gd name="connsiteX301" fmla="*/ 6536948 w 12156173"/>
                <a:gd name="connsiteY301" fmla="*/ 756852 h 2097925"/>
                <a:gd name="connsiteX302" fmla="*/ 6599522 w 12156173"/>
                <a:gd name="connsiteY302" fmla="*/ 719259 h 2097925"/>
                <a:gd name="connsiteX303" fmla="*/ 6602752 w 12156173"/>
                <a:gd name="connsiteY303" fmla="*/ 724438 h 2097925"/>
                <a:gd name="connsiteX304" fmla="*/ 6539994 w 12156173"/>
                <a:gd name="connsiteY304" fmla="*/ 762153 h 2097925"/>
                <a:gd name="connsiteX305" fmla="*/ 10050571 w 12156173"/>
                <a:gd name="connsiteY305" fmla="*/ 722854 h 2097925"/>
                <a:gd name="connsiteX306" fmla="*/ 9987997 w 12156173"/>
                <a:gd name="connsiteY306" fmla="*/ 685077 h 2097925"/>
                <a:gd name="connsiteX307" fmla="*/ 9991165 w 12156173"/>
                <a:gd name="connsiteY307" fmla="*/ 679837 h 2097925"/>
                <a:gd name="connsiteX308" fmla="*/ 10053739 w 12156173"/>
                <a:gd name="connsiteY308" fmla="*/ 717614 h 2097925"/>
                <a:gd name="connsiteX309" fmla="*/ 6664230 w 12156173"/>
                <a:gd name="connsiteY309" fmla="*/ 684590 h 2097925"/>
                <a:gd name="connsiteX310" fmla="*/ 6660817 w 12156173"/>
                <a:gd name="connsiteY310" fmla="*/ 679472 h 2097925"/>
                <a:gd name="connsiteX311" fmla="*/ 6721199 w 12156173"/>
                <a:gd name="connsiteY311" fmla="*/ 638283 h 2097925"/>
                <a:gd name="connsiteX312" fmla="*/ 6724672 w 12156173"/>
                <a:gd name="connsiteY312" fmla="*/ 643341 h 2097925"/>
                <a:gd name="connsiteX313" fmla="*/ 6664352 w 12156173"/>
                <a:gd name="connsiteY313" fmla="*/ 684590 h 2097925"/>
                <a:gd name="connsiteX314" fmla="*/ 9925483 w 12156173"/>
                <a:gd name="connsiteY314" fmla="*/ 647118 h 2097925"/>
                <a:gd name="connsiteX315" fmla="*/ 9863030 w 12156173"/>
                <a:gd name="connsiteY315" fmla="*/ 609159 h 2097925"/>
                <a:gd name="connsiteX316" fmla="*/ 9866198 w 12156173"/>
                <a:gd name="connsiteY316" fmla="*/ 603919 h 2097925"/>
                <a:gd name="connsiteX317" fmla="*/ 9928651 w 12156173"/>
                <a:gd name="connsiteY317" fmla="*/ 641939 h 2097925"/>
                <a:gd name="connsiteX318" fmla="*/ 6784504 w 12156173"/>
                <a:gd name="connsiteY318" fmla="*/ 601177 h 2097925"/>
                <a:gd name="connsiteX319" fmla="*/ 6780971 w 12156173"/>
                <a:gd name="connsiteY319" fmla="*/ 596242 h 2097925"/>
                <a:gd name="connsiteX320" fmla="*/ 6840438 w 12156173"/>
                <a:gd name="connsiteY320" fmla="*/ 553591 h 2097925"/>
                <a:gd name="connsiteX321" fmla="*/ 6843972 w 12156173"/>
                <a:gd name="connsiteY321" fmla="*/ 558527 h 2097925"/>
                <a:gd name="connsiteX322" fmla="*/ 6784626 w 12156173"/>
                <a:gd name="connsiteY322" fmla="*/ 601177 h 2097925"/>
                <a:gd name="connsiteX323" fmla="*/ 9800516 w 12156173"/>
                <a:gd name="connsiteY323" fmla="*/ 571017 h 2097925"/>
                <a:gd name="connsiteX324" fmla="*/ 9738185 w 12156173"/>
                <a:gd name="connsiteY324" fmla="*/ 532814 h 2097925"/>
                <a:gd name="connsiteX325" fmla="*/ 9741415 w 12156173"/>
                <a:gd name="connsiteY325" fmla="*/ 527635 h 2097925"/>
                <a:gd name="connsiteX326" fmla="*/ 9803685 w 12156173"/>
                <a:gd name="connsiteY326" fmla="*/ 565838 h 2097925"/>
                <a:gd name="connsiteX327" fmla="*/ 6903256 w 12156173"/>
                <a:gd name="connsiteY327" fmla="*/ 516181 h 2097925"/>
                <a:gd name="connsiteX328" fmla="*/ 6899722 w 12156173"/>
                <a:gd name="connsiteY328" fmla="*/ 511245 h 2097925"/>
                <a:gd name="connsiteX329" fmla="*/ 6959311 w 12156173"/>
                <a:gd name="connsiteY329" fmla="*/ 468595 h 2097925"/>
                <a:gd name="connsiteX330" fmla="*/ 6962784 w 12156173"/>
                <a:gd name="connsiteY330" fmla="*/ 473591 h 2097925"/>
                <a:gd name="connsiteX331" fmla="*/ 6903500 w 12156173"/>
                <a:gd name="connsiteY331" fmla="*/ 515937 h 2097925"/>
                <a:gd name="connsiteX332" fmla="*/ 9675855 w 12156173"/>
                <a:gd name="connsiteY332" fmla="*/ 494916 h 2097925"/>
                <a:gd name="connsiteX333" fmla="*/ 9613097 w 12156173"/>
                <a:gd name="connsiteY333" fmla="*/ 457505 h 2097925"/>
                <a:gd name="connsiteX334" fmla="*/ 9616143 w 12156173"/>
                <a:gd name="connsiteY334" fmla="*/ 452266 h 2097925"/>
                <a:gd name="connsiteX335" fmla="*/ 9679022 w 12156173"/>
                <a:gd name="connsiteY335" fmla="*/ 489676 h 2097925"/>
                <a:gd name="connsiteX336" fmla="*/ 7022678 w 12156173"/>
                <a:gd name="connsiteY336" fmla="*/ 431854 h 2097925"/>
                <a:gd name="connsiteX337" fmla="*/ 7019205 w 12156173"/>
                <a:gd name="connsiteY337" fmla="*/ 426858 h 2097925"/>
                <a:gd name="connsiteX338" fmla="*/ 7079708 w 12156173"/>
                <a:gd name="connsiteY338" fmla="*/ 385670 h 2097925"/>
                <a:gd name="connsiteX339" fmla="*/ 7083120 w 12156173"/>
                <a:gd name="connsiteY339" fmla="*/ 390727 h 2097925"/>
                <a:gd name="connsiteX340" fmla="*/ 7022922 w 12156173"/>
                <a:gd name="connsiteY340" fmla="*/ 431610 h 2097925"/>
                <a:gd name="connsiteX341" fmla="*/ 9549913 w 12156173"/>
                <a:gd name="connsiteY341" fmla="*/ 420826 h 2097925"/>
                <a:gd name="connsiteX342" fmla="*/ 9486059 w 12156173"/>
                <a:gd name="connsiteY342" fmla="*/ 385304 h 2097925"/>
                <a:gd name="connsiteX343" fmla="*/ 9488922 w 12156173"/>
                <a:gd name="connsiteY343" fmla="*/ 380003 h 2097925"/>
                <a:gd name="connsiteX344" fmla="*/ 9552899 w 12156173"/>
                <a:gd name="connsiteY344" fmla="*/ 415525 h 2097925"/>
                <a:gd name="connsiteX345" fmla="*/ 9421961 w 12156173"/>
                <a:gd name="connsiteY345" fmla="*/ 350879 h 2097925"/>
                <a:gd name="connsiteX346" fmla="*/ 9357010 w 12156173"/>
                <a:gd name="connsiteY346" fmla="*/ 317489 h 2097925"/>
                <a:gd name="connsiteX347" fmla="*/ 9359752 w 12156173"/>
                <a:gd name="connsiteY347" fmla="*/ 312067 h 2097925"/>
                <a:gd name="connsiteX348" fmla="*/ 9424824 w 12156173"/>
                <a:gd name="connsiteY348" fmla="*/ 345456 h 2097925"/>
                <a:gd name="connsiteX349" fmla="*/ 7144659 w 12156173"/>
                <a:gd name="connsiteY349" fmla="*/ 350330 h 2097925"/>
                <a:gd name="connsiteX350" fmla="*/ 7141368 w 12156173"/>
                <a:gd name="connsiteY350" fmla="*/ 345212 h 2097925"/>
                <a:gd name="connsiteX351" fmla="*/ 7203334 w 12156173"/>
                <a:gd name="connsiteY351" fmla="*/ 306278 h 2097925"/>
                <a:gd name="connsiteX352" fmla="*/ 7206502 w 12156173"/>
                <a:gd name="connsiteY352" fmla="*/ 311457 h 2097925"/>
                <a:gd name="connsiteX353" fmla="*/ 7144415 w 12156173"/>
                <a:gd name="connsiteY353" fmla="*/ 350330 h 2097925"/>
                <a:gd name="connsiteX354" fmla="*/ 9291450 w 12156173"/>
                <a:gd name="connsiteY354" fmla="*/ 285258 h 2097925"/>
                <a:gd name="connsiteX355" fmla="*/ 9225280 w 12156173"/>
                <a:gd name="connsiteY355" fmla="*/ 254306 h 2097925"/>
                <a:gd name="connsiteX356" fmla="*/ 9227840 w 12156173"/>
                <a:gd name="connsiteY356" fmla="*/ 248761 h 2097925"/>
                <a:gd name="connsiteX357" fmla="*/ 9294070 w 12156173"/>
                <a:gd name="connsiteY357" fmla="*/ 279774 h 2097925"/>
                <a:gd name="connsiteX358" fmla="*/ 7269259 w 12156173"/>
                <a:gd name="connsiteY358" fmla="*/ 274108 h 2097925"/>
                <a:gd name="connsiteX359" fmla="*/ 7266213 w 12156173"/>
                <a:gd name="connsiteY359" fmla="*/ 268807 h 2097925"/>
                <a:gd name="connsiteX360" fmla="*/ 7330068 w 12156173"/>
                <a:gd name="connsiteY360" fmla="*/ 233041 h 2097925"/>
                <a:gd name="connsiteX361" fmla="*/ 7332992 w 12156173"/>
                <a:gd name="connsiteY361" fmla="*/ 238403 h 2097925"/>
                <a:gd name="connsiteX362" fmla="*/ 7269016 w 12156173"/>
                <a:gd name="connsiteY362" fmla="*/ 274108 h 2097925"/>
                <a:gd name="connsiteX363" fmla="*/ 9158563 w 12156173"/>
                <a:gd name="connsiteY363" fmla="*/ 224633 h 2097925"/>
                <a:gd name="connsiteX364" fmla="*/ 9091540 w 12156173"/>
                <a:gd name="connsiteY364" fmla="*/ 196361 h 2097925"/>
                <a:gd name="connsiteX365" fmla="*/ 9093795 w 12156173"/>
                <a:gd name="connsiteY365" fmla="*/ 190695 h 2097925"/>
                <a:gd name="connsiteX366" fmla="*/ 9161304 w 12156173"/>
                <a:gd name="connsiteY366" fmla="*/ 219027 h 2097925"/>
                <a:gd name="connsiteX367" fmla="*/ 7397699 w 12156173"/>
                <a:gd name="connsiteY367" fmla="*/ 204587 h 2097925"/>
                <a:gd name="connsiteX368" fmla="*/ 7394957 w 12156173"/>
                <a:gd name="connsiteY368" fmla="*/ 199164 h 2097925"/>
                <a:gd name="connsiteX369" fmla="*/ 7460944 w 12156173"/>
                <a:gd name="connsiteY369" fmla="*/ 167420 h 2097925"/>
                <a:gd name="connsiteX370" fmla="*/ 7463443 w 12156173"/>
                <a:gd name="connsiteY370" fmla="*/ 172965 h 2097925"/>
                <a:gd name="connsiteX371" fmla="*/ 7397455 w 12156173"/>
                <a:gd name="connsiteY371" fmla="*/ 204587 h 2097925"/>
                <a:gd name="connsiteX372" fmla="*/ 9023299 w 12156173"/>
                <a:gd name="connsiteY372" fmla="*/ 169613 h 2097925"/>
                <a:gd name="connsiteX373" fmla="*/ 8954693 w 12156173"/>
                <a:gd name="connsiteY373" fmla="*/ 144389 h 2097925"/>
                <a:gd name="connsiteX374" fmla="*/ 8956764 w 12156173"/>
                <a:gd name="connsiteY374" fmla="*/ 138661 h 2097925"/>
                <a:gd name="connsiteX375" fmla="*/ 9025432 w 12156173"/>
                <a:gd name="connsiteY375" fmla="*/ 163886 h 2097925"/>
                <a:gd name="connsiteX376" fmla="*/ 7530525 w 12156173"/>
                <a:gd name="connsiteY376" fmla="*/ 143596 h 2097925"/>
                <a:gd name="connsiteX377" fmla="*/ 7528150 w 12156173"/>
                <a:gd name="connsiteY377" fmla="*/ 137991 h 2097925"/>
                <a:gd name="connsiteX378" fmla="*/ 7596208 w 12156173"/>
                <a:gd name="connsiteY378" fmla="*/ 111060 h 2097925"/>
                <a:gd name="connsiteX379" fmla="*/ 7598340 w 12156173"/>
                <a:gd name="connsiteY379" fmla="*/ 116727 h 2097925"/>
                <a:gd name="connsiteX380" fmla="*/ 7530038 w 12156173"/>
                <a:gd name="connsiteY380" fmla="*/ 143596 h 2097925"/>
                <a:gd name="connsiteX381" fmla="*/ 8885842 w 12156173"/>
                <a:gd name="connsiteY381" fmla="*/ 120931 h 2097925"/>
                <a:gd name="connsiteX382" fmla="*/ 8816078 w 12156173"/>
                <a:gd name="connsiteY382" fmla="*/ 99240 h 2097925"/>
                <a:gd name="connsiteX383" fmla="*/ 8817844 w 12156173"/>
                <a:gd name="connsiteY383" fmla="*/ 93147 h 2097925"/>
                <a:gd name="connsiteX384" fmla="*/ 8887730 w 12156173"/>
                <a:gd name="connsiteY384" fmla="*/ 114899 h 2097925"/>
                <a:gd name="connsiteX385" fmla="*/ 7667252 w 12156173"/>
                <a:gd name="connsiteY385" fmla="*/ 92538 h 2097925"/>
                <a:gd name="connsiteX386" fmla="*/ 7665362 w 12156173"/>
                <a:gd name="connsiteY386" fmla="*/ 86749 h 2097925"/>
                <a:gd name="connsiteX387" fmla="*/ 7735310 w 12156173"/>
                <a:gd name="connsiteY387" fmla="*/ 65302 h 2097925"/>
                <a:gd name="connsiteX388" fmla="*/ 7737016 w 12156173"/>
                <a:gd name="connsiteY388" fmla="*/ 71395 h 2097925"/>
                <a:gd name="connsiteX389" fmla="*/ 7666703 w 12156173"/>
                <a:gd name="connsiteY389" fmla="*/ 92538 h 2097925"/>
                <a:gd name="connsiteX390" fmla="*/ 8745704 w 12156173"/>
                <a:gd name="connsiteY390" fmla="*/ 79499 h 2097925"/>
                <a:gd name="connsiteX391" fmla="*/ 8674843 w 12156173"/>
                <a:gd name="connsiteY391" fmla="*/ 61829 h 2097925"/>
                <a:gd name="connsiteX392" fmla="*/ 8676244 w 12156173"/>
                <a:gd name="connsiteY392" fmla="*/ 55736 h 2097925"/>
                <a:gd name="connsiteX393" fmla="*/ 8747227 w 12156173"/>
                <a:gd name="connsiteY393" fmla="*/ 73467 h 2097925"/>
                <a:gd name="connsiteX394" fmla="*/ 7807390 w 12156173"/>
                <a:gd name="connsiteY394" fmla="*/ 52690 h 2097925"/>
                <a:gd name="connsiteX395" fmla="*/ 7805927 w 12156173"/>
                <a:gd name="connsiteY395" fmla="*/ 46597 h 2097925"/>
                <a:gd name="connsiteX396" fmla="*/ 7877459 w 12156173"/>
                <a:gd name="connsiteY396" fmla="*/ 31060 h 2097925"/>
                <a:gd name="connsiteX397" fmla="*/ 7878616 w 12156173"/>
                <a:gd name="connsiteY397" fmla="*/ 37153 h 2097925"/>
                <a:gd name="connsiteX398" fmla="*/ 7807329 w 12156173"/>
                <a:gd name="connsiteY398" fmla="*/ 52690 h 2097925"/>
                <a:gd name="connsiteX399" fmla="*/ 8603556 w 12156173"/>
                <a:gd name="connsiteY399" fmla="*/ 46292 h 2097925"/>
                <a:gd name="connsiteX400" fmla="*/ 8531720 w 12156173"/>
                <a:gd name="connsiteY400" fmla="*/ 33070 h 2097925"/>
                <a:gd name="connsiteX401" fmla="*/ 8532756 w 12156173"/>
                <a:gd name="connsiteY401" fmla="*/ 26977 h 2097925"/>
                <a:gd name="connsiteX402" fmla="*/ 8604713 w 12156173"/>
                <a:gd name="connsiteY402" fmla="*/ 40199 h 2097925"/>
                <a:gd name="connsiteX403" fmla="*/ 7950513 w 12156173"/>
                <a:gd name="connsiteY403" fmla="*/ 24784 h 2097925"/>
                <a:gd name="connsiteX404" fmla="*/ 7949599 w 12156173"/>
                <a:gd name="connsiteY404" fmla="*/ 18691 h 2097925"/>
                <a:gd name="connsiteX405" fmla="*/ 8022166 w 12156173"/>
                <a:gd name="connsiteY405" fmla="*/ 9308 h 2097925"/>
                <a:gd name="connsiteX406" fmla="*/ 8022836 w 12156173"/>
                <a:gd name="connsiteY406" fmla="*/ 15401 h 2097925"/>
                <a:gd name="connsiteX407" fmla="*/ 7950147 w 12156173"/>
                <a:gd name="connsiteY407" fmla="*/ 24784 h 2097925"/>
                <a:gd name="connsiteX408" fmla="*/ 8459518 w 12156173"/>
                <a:gd name="connsiteY408" fmla="*/ 22286 h 2097925"/>
                <a:gd name="connsiteX409" fmla="*/ 8387012 w 12156173"/>
                <a:gd name="connsiteY409" fmla="*/ 14121 h 2097925"/>
                <a:gd name="connsiteX410" fmla="*/ 8387621 w 12156173"/>
                <a:gd name="connsiteY410" fmla="*/ 8028 h 2097925"/>
                <a:gd name="connsiteX411" fmla="*/ 8460310 w 12156173"/>
                <a:gd name="connsiteY411" fmla="*/ 16254 h 2097925"/>
                <a:gd name="connsiteX412" fmla="*/ 8095465 w 12156173"/>
                <a:gd name="connsiteY412" fmla="*/ 9247 h 2097925"/>
                <a:gd name="connsiteX413" fmla="*/ 8095099 w 12156173"/>
                <a:gd name="connsiteY413" fmla="*/ 3154 h 2097925"/>
                <a:gd name="connsiteX414" fmla="*/ 8168214 w 12156173"/>
                <a:gd name="connsiteY414" fmla="*/ -14 h 2097925"/>
                <a:gd name="connsiteX415" fmla="*/ 8168214 w 12156173"/>
                <a:gd name="connsiteY415" fmla="*/ 6078 h 2097925"/>
                <a:gd name="connsiteX416" fmla="*/ 8095099 w 12156173"/>
                <a:gd name="connsiteY416" fmla="*/ 9247 h 2097925"/>
                <a:gd name="connsiteX417" fmla="*/ 8314262 w 12156173"/>
                <a:gd name="connsiteY417" fmla="*/ 8577 h 2097925"/>
                <a:gd name="connsiteX418" fmla="*/ 8241147 w 12156173"/>
                <a:gd name="connsiteY418" fmla="*/ 5896 h 2097925"/>
                <a:gd name="connsiteX419" fmla="*/ 8241147 w 12156173"/>
                <a:gd name="connsiteY419" fmla="*/ -197 h 2097925"/>
                <a:gd name="connsiteX420" fmla="*/ 8314262 w 12156173"/>
                <a:gd name="connsiteY420" fmla="*/ 2484 h 209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Lst>
              <a:rect l="l" t="t" r="r" b="b"/>
              <a:pathLst>
                <a:path w="12156173" h="2097925">
                  <a:moveTo>
                    <a:pt x="4509" y="2097729"/>
                  </a:moveTo>
                  <a:lnTo>
                    <a:pt x="0" y="2093647"/>
                  </a:lnTo>
                  <a:cubicBezTo>
                    <a:pt x="0" y="2093647"/>
                    <a:pt x="18279" y="2073783"/>
                    <a:pt x="50694" y="2039968"/>
                  </a:cubicBezTo>
                  <a:lnTo>
                    <a:pt x="55081" y="2044172"/>
                  </a:lnTo>
                  <a:cubicBezTo>
                    <a:pt x="22423" y="2077744"/>
                    <a:pt x="4692" y="2097363"/>
                    <a:pt x="4509" y="2097729"/>
                  </a:cubicBezTo>
                  <a:close/>
                  <a:moveTo>
                    <a:pt x="106627" y="1992016"/>
                  </a:moveTo>
                  <a:lnTo>
                    <a:pt x="102362" y="1987690"/>
                  </a:lnTo>
                  <a:cubicBezTo>
                    <a:pt x="119300" y="1970812"/>
                    <a:pt x="136909" y="1953509"/>
                    <a:pt x="154761" y="1936326"/>
                  </a:cubicBezTo>
                  <a:lnTo>
                    <a:pt x="158966" y="1940652"/>
                  </a:lnTo>
                  <a:cubicBezTo>
                    <a:pt x="141174" y="1957591"/>
                    <a:pt x="123566" y="1974956"/>
                    <a:pt x="106627" y="1991833"/>
                  </a:cubicBezTo>
                  <a:close/>
                  <a:moveTo>
                    <a:pt x="212035" y="1890142"/>
                  </a:moveTo>
                  <a:lnTo>
                    <a:pt x="207892" y="1885755"/>
                  </a:lnTo>
                  <a:cubicBezTo>
                    <a:pt x="225562" y="1869121"/>
                    <a:pt x="243658" y="1852365"/>
                    <a:pt x="261693" y="1835915"/>
                  </a:cubicBezTo>
                  <a:lnTo>
                    <a:pt x="265775" y="1840423"/>
                  </a:lnTo>
                  <a:cubicBezTo>
                    <a:pt x="247740" y="1856691"/>
                    <a:pt x="229705" y="1873447"/>
                    <a:pt x="212035" y="1889959"/>
                  </a:cubicBezTo>
                  <a:close/>
                  <a:moveTo>
                    <a:pt x="320185" y="1791375"/>
                  </a:moveTo>
                  <a:lnTo>
                    <a:pt x="316103" y="1786805"/>
                  </a:lnTo>
                  <a:cubicBezTo>
                    <a:pt x="334382" y="1770842"/>
                    <a:pt x="352661" y="1754574"/>
                    <a:pt x="370939" y="1738488"/>
                  </a:cubicBezTo>
                  <a:lnTo>
                    <a:pt x="374900" y="1743058"/>
                  </a:lnTo>
                  <a:cubicBezTo>
                    <a:pt x="356621" y="1759021"/>
                    <a:pt x="338098" y="1775229"/>
                    <a:pt x="320185" y="1791192"/>
                  </a:cubicBezTo>
                  <a:close/>
                  <a:moveTo>
                    <a:pt x="430772" y="1695594"/>
                  </a:moveTo>
                  <a:lnTo>
                    <a:pt x="426873" y="1690902"/>
                  </a:lnTo>
                  <a:cubicBezTo>
                    <a:pt x="445152" y="1675243"/>
                    <a:pt x="464405" y="1659463"/>
                    <a:pt x="483172" y="1644047"/>
                  </a:cubicBezTo>
                  <a:lnTo>
                    <a:pt x="487010" y="1648739"/>
                  </a:lnTo>
                  <a:cubicBezTo>
                    <a:pt x="468305" y="1663910"/>
                    <a:pt x="449356" y="1679630"/>
                    <a:pt x="430772" y="1695594"/>
                  </a:cubicBezTo>
                  <a:close/>
                  <a:moveTo>
                    <a:pt x="543858" y="1602676"/>
                  </a:moveTo>
                  <a:lnTo>
                    <a:pt x="540080" y="1597924"/>
                  </a:lnTo>
                  <a:cubicBezTo>
                    <a:pt x="559029" y="1582752"/>
                    <a:pt x="578405" y="1567459"/>
                    <a:pt x="597597" y="1552592"/>
                  </a:cubicBezTo>
                  <a:lnTo>
                    <a:pt x="601314" y="1557345"/>
                  </a:lnTo>
                  <a:cubicBezTo>
                    <a:pt x="582182" y="1572028"/>
                    <a:pt x="562807" y="1587261"/>
                    <a:pt x="543858" y="1602433"/>
                  </a:cubicBezTo>
                  <a:close/>
                  <a:moveTo>
                    <a:pt x="659624" y="1512866"/>
                  </a:moveTo>
                  <a:lnTo>
                    <a:pt x="655907" y="1507992"/>
                  </a:lnTo>
                  <a:cubicBezTo>
                    <a:pt x="675587" y="1493186"/>
                    <a:pt x="695328" y="1478441"/>
                    <a:pt x="714643" y="1464244"/>
                  </a:cubicBezTo>
                  <a:lnTo>
                    <a:pt x="718299" y="1469180"/>
                  </a:lnTo>
                  <a:cubicBezTo>
                    <a:pt x="698679" y="1483132"/>
                    <a:pt x="678999" y="1497816"/>
                    <a:pt x="659380" y="1512805"/>
                  </a:cubicBezTo>
                  <a:close/>
                  <a:moveTo>
                    <a:pt x="11629621" y="1446392"/>
                  </a:moveTo>
                  <a:cubicBezTo>
                    <a:pt x="11606468" y="1446349"/>
                    <a:pt x="11583314" y="1445131"/>
                    <a:pt x="11560283" y="1442736"/>
                  </a:cubicBezTo>
                  <a:lnTo>
                    <a:pt x="11560954" y="1436643"/>
                  </a:lnTo>
                  <a:cubicBezTo>
                    <a:pt x="11583741" y="1438989"/>
                    <a:pt x="11606711" y="1440189"/>
                    <a:pt x="11629621" y="1440238"/>
                  </a:cubicBezTo>
                  <a:lnTo>
                    <a:pt x="11633459" y="1440238"/>
                  </a:lnTo>
                  <a:lnTo>
                    <a:pt x="11633459" y="1446331"/>
                  </a:lnTo>
                  <a:lnTo>
                    <a:pt x="11629560" y="1446331"/>
                  </a:lnTo>
                  <a:close/>
                  <a:moveTo>
                    <a:pt x="11706758" y="1441335"/>
                  </a:moveTo>
                  <a:lnTo>
                    <a:pt x="11705904" y="1435242"/>
                  </a:lnTo>
                  <a:cubicBezTo>
                    <a:pt x="11729911" y="1431994"/>
                    <a:pt x="11753673" y="1427151"/>
                    <a:pt x="11777070" y="1420741"/>
                  </a:cubicBezTo>
                  <a:lnTo>
                    <a:pt x="11778655" y="1426834"/>
                  </a:lnTo>
                  <a:cubicBezTo>
                    <a:pt x="11755075" y="1433304"/>
                    <a:pt x="11731068" y="1438148"/>
                    <a:pt x="11706819" y="1441335"/>
                  </a:cubicBezTo>
                  <a:close/>
                  <a:moveTo>
                    <a:pt x="11487838" y="1432013"/>
                  </a:moveTo>
                  <a:cubicBezTo>
                    <a:pt x="11464929" y="1427687"/>
                    <a:pt x="11440861" y="1422203"/>
                    <a:pt x="11416428" y="1415866"/>
                  </a:cubicBezTo>
                  <a:lnTo>
                    <a:pt x="11417951" y="1409773"/>
                  </a:lnTo>
                  <a:cubicBezTo>
                    <a:pt x="11442323" y="1415866"/>
                    <a:pt x="11466147" y="1421533"/>
                    <a:pt x="11488995" y="1425859"/>
                  </a:cubicBezTo>
                  <a:close/>
                  <a:moveTo>
                    <a:pt x="777339" y="1425920"/>
                  </a:moveTo>
                  <a:lnTo>
                    <a:pt x="773806" y="1420923"/>
                  </a:lnTo>
                  <a:cubicBezTo>
                    <a:pt x="793669" y="1406788"/>
                    <a:pt x="813897" y="1392652"/>
                    <a:pt x="833760" y="1378943"/>
                  </a:cubicBezTo>
                  <a:lnTo>
                    <a:pt x="837233" y="1383939"/>
                  </a:lnTo>
                  <a:cubicBezTo>
                    <a:pt x="817370" y="1397831"/>
                    <a:pt x="797203" y="1411906"/>
                    <a:pt x="777339" y="1426103"/>
                  </a:cubicBezTo>
                  <a:close/>
                  <a:moveTo>
                    <a:pt x="11848236" y="1402401"/>
                  </a:moveTo>
                  <a:lnTo>
                    <a:pt x="11845920" y="1396795"/>
                  </a:lnTo>
                  <a:cubicBezTo>
                    <a:pt x="11868282" y="1387394"/>
                    <a:pt x="11890155" y="1376859"/>
                    <a:pt x="11911481" y="1365234"/>
                  </a:cubicBezTo>
                  <a:lnTo>
                    <a:pt x="11914345" y="1370595"/>
                  </a:lnTo>
                  <a:cubicBezTo>
                    <a:pt x="11892776" y="1382404"/>
                    <a:pt x="11870658" y="1393085"/>
                    <a:pt x="11847993" y="1402583"/>
                  </a:cubicBezTo>
                  <a:close/>
                  <a:moveTo>
                    <a:pt x="11346359" y="1395272"/>
                  </a:moveTo>
                  <a:cubicBezTo>
                    <a:pt x="11324120" y="1388204"/>
                    <a:pt x="11300784" y="1380283"/>
                    <a:pt x="11277143" y="1371693"/>
                  </a:cubicBezTo>
                  <a:lnTo>
                    <a:pt x="11279215" y="1365965"/>
                  </a:lnTo>
                  <a:cubicBezTo>
                    <a:pt x="11302794" y="1374495"/>
                    <a:pt x="11326009" y="1382416"/>
                    <a:pt x="11348248" y="1389484"/>
                  </a:cubicBezTo>
                  <a:close/>
                  <a:moveTo>
                    <a:pt x="11208781" y="1345553"/>
                  </a:moveTo>
                  <a:cubicBezTo>
                    <a:pt x="11187150" y="1336902"/>
                    <a:pt x="11164424" y="1327275"/>
                    <a:pt x="11141271" y="1317465"/>
                  </a:cubicBezTo>
                  <a:lnTo>
                    <a:pt x="11143708" y="1311860"/>
                  </a:lnTo>
                  <a:cubicBezTo>
                    <a:pt x="11166800" y="1321852"/>
                    <a:pt x="11189466" y="1331296"/>
                    <a:pt x="11211096" y="1339887"/>
                  </a:cubicBezTo>
                  <a:close/>
                  <a:moveTo>
                    <a:pt x="897919" y="1343056"/>
                  </a:moveTo>
                  <a:lnTo>
                    <a:pt x="894568" y="1337998"/>
                  </a:lnTo>
                  <a:cubicBezTo>
                    <a:pt x="914918" y="1324411"/>
                    <a:pt x="935573" y="1310885"/>
                    <a:pt x="955802" y="1297846"/>
                  </a:cubicBezTo>
                  <a:lnTo>
                    <a:pt x="959092" y="1302964"/>
                  </a:lnTo>
                  <a:cubicBezTo>
                    <a:pt x="938681" y="1316003"/>
                    <a:pt x="918087" y="1329468"/>
                    <a:pt x="897919" y="1343056"/>
                  </a:cubicBezTo>
                  <a:close/>
                  <a:moveTo>
                    <a:pt x="11977346" y="1333490"/>
                  </a:moveTo>
                  <a:lnTo>
                    <a:pt x="11974116" y="1328310"/>
                  </a:lnTo>
                  <a:cubicBezTo>
                    <a:pt x="11992882" y="1316124"/>
                    <a:pt x="12012685" y="1303025"/>
                    <a:pt x="12034620" y="1287609"/>
                  </a:cubicBezTo>
                  <a:lnTo>
                    <a:pt x="12038153" y="1292606"/>
                  </a:lnTo>
                  <a:cubicBezTo>
                    <a:pt x="12015914" y="1308082"/>
                    <a:pt x="11996051" y="1321426"/>
                    <a:pt x="11977163" y="1333490"/>
                  </a:cubicBezTo>
                  <a:close/>
                  <a:moveTo>
                    <a:pt x="11074370" y="1287975"/>
                  </a:moveTo>
                  <a:cubicBezTo>
                    <a:pt x="11053044" y="1278287"/>
                    <a:pt x="11030806" y="1267868"/>
                    <a:pt x="11008139" y="1257023"/>
                  </a:cubicBezTo>
                  <a:lnTo>
                    <a:pt x="11010760" y="1251539"/>
                  </a:lnTo>
                  <a:cubicBezTo>
                    <a:pt x="11033364" y="1262324"/>
                    <a:pt x="11055604" y="1272743"/>
                    <a:pt x="11076929" y="1282431"/>
                  </a:cubicBezTo>
                  <a:close/>
                  <a:moveTo>
                    <a:pt x="1020997" y="1263603"/>
                  </a:moveTo>
                  <a:lnTo>
                    <a:pt x="1017767" y="1258424"/>
                  </a:lnTo>
                  <a:cubicBezTo>
                    <a:pt x="1038423" y="1245568"/>
                    <a:pt x="1059443" y="1232773"/>
                    <a:pt x="1080281" y="1220282"/>
                  </a:cubicBezTo>
                  <a:lnTo>
                    <a:pt x="1083449" y="1225522"/>
                  </a:lnTo>
                  <a:cubicBezTo>
                    <a:pt x="1062429" y="1238257"/>
                    <a:pt x="1041286" y="1250808"/>
                    <a:pt x="1020692" y="1263908"/>
                  </a:cubicBezTo>
                  <a:close/>
                  <a:moveTo>
                    <a:pt x="12097560" y="1249468"/>
                  </a:moveTo>
                  <a:lnTo>
                    <a:pt x="12093965" y="1244593"/>
                  </a:lnTo>
                  <a:cubicBezTo>
                    <a:pt x="12112975" y="1230579"/>
                    <a:pt x="12132411" y="1215957"/>
                    <a:pt x="12152518" y="1200907"/>
                  </a:cubicBezTo>
                  <a:lnTo>
                    <a:pt x="12156174" y="1205781"/>
                  </a:lnTo>
                  <a:cubicBezTo>
                    <a:pt x="12135763" y="1221135"/>
                    <a:pt x="12116265" y="1235759"/>
                    <a:pt x="12097255" y="1249772"/>
                  </a:cubicBezTo>
                  <a:close/>
                  <a:moveTo>
                    <a:pt x="10942519" y="1224730"/>
                  </a:moveTo>
                  <a:cubicBezTo>
                    <a:pt x="10921376" y="1214189"/>
                    <a:pt x="10899441" y="1203161"/>
                    <a:pt x="10877263" y="1191828"/>
                  </a:cubicBezTo>
                  <a:lnTo>
                    <a:pt x="10880005" y="1186345"/>
                  </a:lnTo>
                  <a:cubicBezTo>
                    <a:pt x="10902183" y="1197678"/>
                    <a:pt x="10924118" y="1208767"/>
                    <a:pt x="10945260" y="1219247"/>
                  </a:cubicBezTo>
                  <a:close/>
                  <a:moveTo>
                    <a:pt x="1146207" y="1188843"/>
                  </a:moveTo>
                  <a:lnTo>
                    <a:pt x="1143160" y="1183603"/>
                  </a:lnTo>
                  <a:cubicBezTo>
                    <a:pt x="1164547" y="1171417"/>
                    <a:pt x="1185811" y="1159231"/>
                    <a:pt x="1207015" y="1147715"/>
                  </a:cubicBezTo>
                  <a:lnTo>
                    <a:pt x="1209939" y="1153077"/>
                  </a:lnTo>
                  <a:cubicBezTo>
                    <a:pt x="1188979" y="1164593"/>
                    <a:pt x="1167532" y="1176657"/>
                    <a:pt x="1146207" y="1188843"/>
                  </a:cubicBezTo>
                  <a:close/>
                  <a:moveTo>
                    <a:pt x="10812068" y="1158378"/>
                  </a:moveTo>
                  <a:cubicBezTo>
                    <a:pt x="10790986" y="1147332"/>
                    <a:pt x="10769479" y="1135895"/>
                    <a:pt x="10747483" y="1124075"/>
                  </a:cubicBezTo>
                  <a:lnTo>
                    <a:pt x="10750347" y="1118713"/>
                  </a:lnTo>
                  <a:cubicBezTo>
                    <a:pt x="10772342" y="1130533"/>
                    <a:pt x="10793790" y="1141927"/>
                    <a:pt x="10814871" y="1153016"/>
                  </a:cubicBezTo>
                  <a:close/>
                  <a:moveTo>
                    <a:pt x="4881736" y="1138881"/>
                  </a:moveTo>
                  <a:cubicBezTo>
                    <a:pt x="4868880" y="1138881"/>
                    <a:pt x="4855963" y="1138881"/>
                    <a:pt x="4843107" y="1138881"/>
                  </a:cubicBezTo>
                  <a:lnTo>
                    <a:pt x="4843107" y="1132788"/>
                  </a:lnTo>
                  <a:lnTo>
                    <a:pt x="4881675" y="1132788"/>
                  </a:lnTo>
                  <a:lnTo>
                    <a:pt x="4916283" y="1132788"/>
                  </a:lnTo>
                  <a:lnTo>
                    <a:pt x="4916283" y="1138881"/>
                  </a:lnTo>
                  <a:close/>
                  <a:moveTo>
                    <a:pt x="4989642" y="1137723"/>
                  </a:moveTo>
                  <a:lnTo>
                    <a:pt x="4989642" y="1131630"/>
                  </a:lnTo>
                  <a:cubicBezTo>
                    <a:pt x="5014014" y="1131081"/>
                    <a:pt x="5038690" y="1130350"/>
                    <a:pt x="5062758" y="1129437"/>
                  </a:cubicBezTo>
                  <a:lnTo>
                    <a:pt x="5062758" y="1135530"/>
                  </a:lnTo>
                  <a:cubicBezTo>
                    <a:pt x="5038751" y="1136504"/>
                    <a:pt x="5014136" y="1137235"/>
                    <a:pt x="4989642" y="1137784"/>
                  </a:cubicBezTo>
                  <a:close/>
                  <a:moveTo>
                    <a:pt x="4769869" y="1137723"/>
                  </a:moveTo>
                  <a:cubicBezTo>
                    <a:pt x="4745497" y="1137174"/>
                    <a:pt x="4721126" y="1136504"/>
                    <a:pt x="4696754" y="1135651"/>
                  </a:cubicBezTo>
                  <a:lnTo>
                    <a:pt x="4696754" y="1129558"/>
                  </a:lnTo>
                  <a:cubicBezTo>
                    <a:pt x="4721126" y="1130411"/>
                    <a:pt x="4745497" y="1131081"/>
                    <a:pt x="4769869" y="1131630"/>
                  </a:cubicBezTo>
                  <a:close/>
                  <a:moveTo>
                    <a:pt x="4623638" y="1132605"/>
                  </a:moveTo>
                  <a:cubicBezTo>
                    <a:pt x="4599754" y="1131447"/>
                    <a:pt x="4574895" y="1130107"/>
                    <a:pt x="4550523" y="1128644"/>
                  </a:cubicBezTo>
                  <a:lnTo>
                    <a:pt x="4550888" y="1122552"/>
                  </a:lnTo>
                  <a:cubicBezTo>
                    <a:pt x="4575260" y="1124075"/>
                    <a:pt x="4600059" y="1125354"/>
                    <a:pt x="4624004" y="1126512"/>
                  </a:cubicBezTo>
                  <a:close/>
                  <a:moveTo>
                    <a:pt x="5135995" y="1132239"/>
                  </a:moveTo>
                  <a:lnTo>
                    <a:pt x="5135690" y="1126146"/>
                  </a:lnTo>
                  <a:cubicBezTo>
                    <a:pt x="5160062" y="1124806"/>
                    <a:pt x="5184434" y="1123283"/>
                    <a:pt x="5208806" y="1121576"/>
                  </a:cubicBezTo>
                  <a:lnTo>
                    <a:pt x="5209232" y="1127669"/>
                  </a:lnTo>
                  <a:cubicBezTo>
                    <a:pt x="5184861" y="1129376"/>
                    <a:pt x="5160245" y="1130899"/>
                    <a:pt x="5135995" y="1132239"/>
                  </a:cubicBezTo>
                  <a:close/>
                  <a:moveTo>
                    <a:pt x="4477590" y="1123831"/>
                  </a:moveTo>
                  <a:cubicBezTo>
                    <a:pt x="4453219" y="1122064"/>
                    <a:pt x="4428847" y="1120175"/>
                    <a:pt x="4404475" y="1118164"/>
                  </a:cubicBezTo>
                  <a:lnTo>
                    <a:pt x="4405023" y="1112071"/>
                  </a:lnTo>
                  <a:cubicBezTo>
                    <a:pt x="4429395" y="1114082"/>
                    <a:pt x="4453767" y="1116032"/>
                    <a:pt x="4478139" y="1117738"/>
                  </a:cubicBezTo>
                  <a:close/>
                  <a:moveTo>
                    <a:pt x="5281860" y="1121820"/>
                  </a:moveTo>
                  <a:lnTo>
                    <a:pt x="5281312" y="1115727"/>
                  </a:lnTo>
                  <a:cubicBezTo>
                    <a:pt x="5305684" y="1113595"/>
                    <a:pt x="5330055" y="1111219"/>
                    <a:pt x="5354062" y="1108659"/>
                  </a:cubicBezTo>
                  <a:lnTo>
                    <a:pt x="5354732" y="1114752"/>
                  </a:lnTo>
                  <a:cubicBezTo>
                    <a:pt x="5331152" y="1117251"/>
                    <a:pt x="5306659" y="1119627"/>
                    <a:pt x="5282165" y="1121820"/>
                  </a:cubicBezTo>
                  <a:close/>
                  <a:moveTo>
                    <a:pt x="1274037" y="1118469"/>
                  </a:moveTo>
                  <a:lnTo>
                    <a:pt x="1271234" y="1113047"/>
                  </a:lnTo>
                  <a:cubicBezTo>
                    <a:pt x="1292925" y="1101653"/>
                    <a:pt x="1314860" y="1090442"/>
                    <a:pt x="1336368" y="1079718"/>
                  </a:cubicBezTo>
                  <a:lnTo>
                    <a:pt x="1339110" y="1085141"/>
                  </a:lnTo>
                  <a:cubicBezTo>
                    <a:pt x="1317906" y="1095864"/>
                    <a:pt x="1296033" y="1107075"/>
                    <a:pt x="1274342" y="1118469"/>
                  </a:cubicBezTo>
                  <a:close/>
                  <a:moveTo>
                    <a:pt x="4331482" y="1111645"/>
                  </a:moveTo>
                  <a:cubicBezTo>
                    <a:pt x="4307110" y="1109409"/>
                    <a:pt x="4282860" y="1106996"/>
                    <a:pt x="4258732" y="1104394"/>
                  </a:cubicBezTo>
                  <a:lnTo>
                    <a:pt x="4259341" y="1098301"/>
                  </a:lnTo>
                  <a:cubicBezTo>
                    <a:pt x="4283713" y="1100861"/>
                    <a:pt x="4307962" y="1103279"/>
                    <a:pt x="4332091" y="1105552"/>
                  </a:cubicBezTo>
                  <a:close/>
                  <a:moveTo>
                    <a:pt x="5427482" y="1106222"/>
                  </a:moveTo>
                  <a:lnTo>
                    <a:pt x="5426751" y="1100130"/>
                  </a:lnTo>
                  <a:cubicBezTo>
                    <a:pt x="5451122" y="1097083"/>
                    <a:pt x="5475494" y="1094037"/>
                    <a:pt x="5499196" y="1090320"/>
                  </a:cubicBezTo>
                  <a:lnTo>
                    <a:pt x="5500049" y="1096413"/>
                  </a:lnTo>
                  <a:cubicBezTo>
                    <a:pt x="5476530" y="1099886"/>
                    <a:pt x="5452158" y="1103176"/>
                    <a:pt x="5427787" y="1106222"/>
                  </a:cubicBezTo>
                  <a:close/>
                  <a:moveTo>
                    <a:pt x="4186042" y="1096352"/>
                  </a:moveTo>
                  <a:cubicBezTo>
                    <a:pt x="4161670" y="1093628"/>
                    <a:pt x="4137463" y="1090728"/>
                    <a:pt x="4113414" y="1087639"/>
                  </a:cubicBezTo>
                  <a:lnTo>
                    <a:pt x="4114145" y="1081546"/>
                  </a:lnTo>
                  <a:cubicBezTo>
                    <a:pt x="4138517" y="1084592"/>
                    <a:pt x="4162707" y="1087499"/>
                    <a:pt x="4186713" y="1090259"/>
                  </a:cubicBezTo>
                  <a:close/>
                  <a:moveTo>
                    <a:pt x="10683202" y="1089345"/>
                  </a:moveTo>
                  <a:cubicBezTo>
                    <a:pt x="10662243" y="1077890"/>
                    <a:pt x="10640918" y="1066131"/>
                    <a:pt x="10619165" y="1054067"/>
                  </a:cubicBezTo>
                  <a:lnTo>
                    <a:pt x="10622151" y="1048705"/>
                  </a:lnTo>
                  <a:cubicBezTo>
                    <a:pt x="10643842" y="1060891"/>
                    <a:pt x="10665167" y="1072650"/>
                    <a:pt x="10686127" y="1083983"/>
                  </a:cubicBezTo>
                  <a:close/>
                  <a:moveTo>
                    <a:pt x="5572738" y="1085141"/>
                  </a:moveTo>
                  <a:lnTo>
                    <a:pt x="5571702" y="1079048"/>
                  </a:lnTo>
                  <a:cubicBezTo>
                    <a:pt x="5596074" y="1075027"/>
                    <a:pt x="5620080" y="1070761"/>
                    <a:pt x="5643721" y="1066313"/>
                  </a:cubicBezTo>
                  <a:lnTo>
                    <a:pt x="5644818" y="1072406"/>
                  </a:lnTo>
                  <a:cubicBezTo>
                    <a:pt x="5621177" y="1076854"/>
                    <a:pt x="5596927" y="1081120"/>
                    <a:pt x="5572738" y="1085141"/>
                  </a:cubicBezTo>
                  <a:close/>
                  <a:moveTo>
                    <a:pt x="4041152" y="1078256"/>
                  </a:moveTo>
                  <a:cubicBezTo>
                    <a:pt x="4017268" y="1075045"/>
                    <a:pt x="3993140" y="1071633"/>
                    <a:pt x="3968768" y="1068020"/>
                  </a:cubicBezTo>
                  <a:lnTo>
                    <a:pt x="3969621" y="1061927"/>
                  </a:lnTo>
                  <a:cubicBezTo>
                    <a:pt x="3993993" y="1065418"/>
                    <a:pt x="4018120" y="1068769"/>
                    <a:pt x="4042005" y="1071980"/>
                  </a:cubicBezTo>
                  <a:close/>
                  <a:moveTo>
                    <a:pt x="5716714" y="1058271"/>
                  </a:moveTo>
                  <a:lnTo>
                    <a:pt x="5715496" y="1052178"/>
                  </a:lnTo>
                  <a:cubicBezTo>
                    <a:pt x="5739319" y="1047182"/>
                    <a:pt x="5763326" y="1041881"/>
                    <a:pt x="5786844" y="1036458"/>
                  </a:cubicBezTo>
                  <a:lnTo>
                    <a:pt x="5788246" y="1042551"/>
                  </a:lnTo>
                  <a:cubicBezTo>
                    <a:pt x="5764605" y="1047974"/>
                    <a:pt x="5740538" y="1053275"/>
                    <a:pt x="5716653" y="1058271"/>
                  </a:cubicBezTo>
                  <a:close/>
                  <a:moveTo>
                    <a:pt x="3896383" y="1057540"/>
                  </a:moveTo>
                  <a:cubicBezTo>
                    <a:pt x="3872377" y="1053884"/>
                    <a:pt x="3848292" y="1050124"/>
                    <a:pt x="3824121" y="1046268"/>
                  </a:cubicBezTo>
                  <a:lnTo>
                    <a:pt x="3825096" y="1040175"/>
                  </a:lnTo>
                  <a:cubicBezTo>
                    <a:pt x="3849224" y="1044239"/>
                    <a:pt x="3873291" y="1047992"/>
                    <a:pt x="3897297" y="1051447"/>
                  </a:cubicBezTo>
                  <a:close/>
                  <a:moveTo>
                    <a:pt x="1405218" y="1053153"/>
                  </a:moveTo>
                  <a:lnTo>
                    <a:pt x="1402598" y="1047669"/>
                  </a:lnTo>
                  <a:cubicBezTo>
                    <a:pt x="1424655" y="1037189"/>
                    <a:pt x="1446955" y="1026892"/>
                    <a:pt x="1468890" y="1017204"/>
                  </a:cubicBezTo>
                  <a:lnTo>
                    <a:pt x="1471388" y="1022810"/>
                  </a:lnTo>
                  <a:cubicBezTo>
                    <a:pt x="1449453" y="1032436"/>
                    <a:pt x="1427153" y="1042734"/>
                    <a:pt x="1405157" y="1053153"/>
                  </a:cubicBezTo>
                  <a:close/>
                  <a:moveTo>
                    <a:pt x="3751980" y="1034447"/>
                  </a:moveTo>
                  <a:cubicBezTo>
                    <a:pt x="3727974" y="1030383"/>
                    <a:pt x="3703950" y="1026325"/>
                    <a:pt x="3679901" y="1022261"/>
                  </a:cubicBezTo>
                  <a:lnTo>
                    <a:pt x="3680937" y="1016168"/>
                  </a:lnTo>
                  <a:cubicBezTo>
                    <a:pt x="3705022" y="1020232"/>
                    <a:pt x="3729028" y="1024290"/>
                    <a:pt x="3752955" y="1028354"/>
                  </a:cubicBezTo>
                  <a:close/>
                  <a:moveTo>
                    <a:pt x="5859290" y="1025369"/>
                  </a:moveTo>
                  <a:lnTo>
                    <a:pt x="5857766" y="1019276"/>
                  </a:lnTo>
                  <a:cubicBezTo>
                    <a:pt x="5881407" y="1013183"/>
                    <a:pt x="5905169" y="1007090"/>
                    <a:pt x="5928384" y="1000448"/>
                  </a:cubicBezTo>
                  <a:lnTo>
                    <a:pt x="5930029" y="1006541"/>
                  </a:lnTo>
                  <a:cubicBezTo>
                    <a:pt x="5906754" y="1013183"/>
                    <a:pt x="5882991" y="1019276"/>
                    <a:pt x="5859290" y="1025369"/>
                  </a:cubicBezTo>
                  <a:close/>
                  <a:moveTo>
                    <a:pt x="10555250" y="1018301"/>
                  </a:moveTo>
                  <a:cubicBezTo>
                    <a:pt x="10534412" y="1006602"/>
                    <a:pt x="10513209" y="994538"/>
                    <a:pt x="10491640" y="982292"/>
                  </a:cubicBezTo>
                  <a:lnTo>
                    <a:pt x="10494687" y="976991"/>
                  </a:lnTo>
                  <a:lnTo>
                    <a:pt x="10558236" y="1013000"/>
                  </a:lnTo>
                  <a:close/>
                  <a:moveTo>
                    <a:pt x="3607821" y="1009222"/>
                  </a:moveTo>
                  <a:cubicBezTo>
                    <a:pt x="3583937" y="1004878"/>
                    <a:pt x="3559973" y="1000430"/>
                    <a:pt x="3535924" y="995879"/>
                  </a:cubicBezTo>
                  <a:lnTo>
                    <a:pt x="3537021" y="989786"/>
                  </a:lnTo>
                  <a:lnTo>
                    <a:pt x="3608918" y="1003129"/>
                  </a:lnTo>
                  <a:close/>
                  <a:moveTo>
                    <a:pt x="1538228" y="993624"/>
                  </a:moveTo>
                  <a:lnTo>
                    <a:pt x="1535912" y="988019"/>
                  </a:lnTo>
                  <a:cubicBezTo>
                    <a:pt x="1558334" y="978575"/>
                    <a:pt x="1581122" y="969314"/>
                    <a:pt x="1603666" y="960479"/>
                  </a:cubicBezTo>
                  <a:lnTo>
                    <a:pt x="1605859" y="966206"/>
                  </a:lnTo>
                  <a:cubicBezTo>
                    <a:pt x="1583376" y="974980"/>
                    <a:pt x="1560650" y="984241"/>
                    <a:pt x="1538228" y="993624"/>
                  </a:cubicBezTo>
                  <a:close/>
                  <a:moveTo>
                    <a:pt x="6000280" y="985948"/>
                  </a:moveTo>
                  <a:lnTo>
                    <a:pt x="5998513" y="979855"/>
                  </a:lnTo>
                  <a:cubicBezTo>
                    <a:pt x="6021850" y="972787"/>
                    <a:pt x="6045307" y="965353"/>
                    <a:pt x="6068156" y="957859"/>
                  </a:cubicBezTo>
                  <a:lnTo>
                    <a:pt x="6070045" y="963586"/>
                  </a:lnTo>
                  <a:cubicBezTo>
                    <a:pt x="6047135" y="971385"/>
                    <a:pt x="6023677" y="978819"/>
                    <a:pt x="6000280" y="985948"/>
                  </a:cubicBezTo>
                  <a:close/>
                  <a:moveTo>
                    <a:pt x="3464088" y="982109"/>
                  </a:moveTo>
                  <a:lnTo>
                    <a:pt x="3392374" y="967851"/>
                  </a:lnTo>
                  <a:lnTo>
                    <a:pt x="3393593" y="961758"/>
                  </a:lnTo>
                  <a:cubicBezTo>
                    <a:pt x="3417520" y="966553"/>
                    <a:pt x="3441404" y="971282"/>
                    <a:pt x="3465246" y="975955"/>
                  </a:cubicBezTo>
                  <a:close/>
                  <a:moveTo>
                    <a:pt x="3320721" y="953167"/>
                  </a:moveTo>
                  <a:cubicBezTo>
                    <a:pt x="3296916" y="948250"/>
                    <a:pt x="3273056" y="943236"/>
                    <a:pt x="3249129" y="938118"/>
                  </a:cubicBezTo>
                  <a:lnTo>
                    <a:pt x="3250408" y="932025"/>
                  </a:lnTo>
                  <a:cubicBezTo>
                    <a:pt x="3274335" y="937064"/>
                    <a:pt x="3298177" y="942078"/>
                    <a:pt x="3321940" y="947075"/>
                  </a:cubicBezTo>
                  <a:close/>
                  <a:moveTo>
                    <a:pt x="10428395" y="946160"/>
                  </a:moveTo>
                  <a:cubicBezTo>
                    <a:pt x="10407618" y="933975"/>
                    <a:pt x="10386476" y="921789"/>
                    <a:pt x="10365090" y="909603"/>
                  </a:cubicBezTo>
                  <a:lnTo>
                    <a:pt x="10368197" y="904363"/>
                  </a:lnTo>
                  <a:cubicBezTo>
                    <a:pt x="10389583" y="916792"/>
                    <a:pt x="10410665" y="928978"/>
                    <a:pt x="10431442" y="940921"/>
                  </a:cubicBezTo>
                  <a:close/>
                  <a:moveTo>
                    <a:pt x="1674161" y="940372"/>
                  </a:moveTo>
                  <a:lnTo>
                    <a:pt x="1672090" y="934645"/>
                  </a:lnTo>
                  <a:cubicBezTo>
                    <a:pt x="1695121" y="926236"/>
                    <a:pt x="1718335" y="918133"/>
                    <a:pt x="1741184" y="910273"/>
                  </a:cubicBezTo>
                  <a:lnTo>
                    <a:pt x="1743134" y="916366"/>
                  </a:lnTo>
                  <a:cubicBezTo>
                    <a:pt x="1720468" y="923921"/>
                    <a:pt x="1697132" y="931964"/>
                    <a:pt x="1674161" y="940372"/>
                  </a:cubicBezTo>
                  <a:close/>
                  <a:moveTo>
                    <a:pt x="6139322" y="940372"/>
                  </a:moveTo>
                  <a:lnTo>
                    <a:pt x="6137250" y="934645"/>
                  </a:lnTo>
                  <a:cubicBezTo>
                    <a:pt x="6160038" y="926541"/>
                    <a:pt x="6183130" y="918011"/>
                    <a:pt x="6205735" y="909359"/>
                  </a:cubicBezTo>
                  <a:lnTo>
                    <a:pt x="6207928" y="915026"/>
                  </a:lnTo>
                  <a:cubicBezTo>
                    <a:pt x="6185263" y="923495"/>
                    <a:pt x="6162231" y="932025"/>
                    <a:pt x="6139322" y="940067"/>
                  </a:cubicBezTo>
                  <a:close/>
                  <a:moveTo>
                    <a:pt x="3177658" y="922885"/>
                  </a:moveTo>
                  <a:cubicBezTo>
                    <a:pt x="3153896" y="917725"/>
                    <a:pt x="3130091" y="912466"/>
                    <a:pt x="3106249" y="907105"/>
                  </a:cubicBezTo>
                  <a:lnTo>
                    <a:pt x="3107590" y="901012"/>
                  </a:lnTo>
                  <a:cubicBezTo>
                    <a:pt x="3131474" y="906373"/>
                    <a:pt x="3155279" y="911632"/>
                    <a:pt x="3178999" y="916792"/>
                  </a:cubicBezTo>
                  <a:close/>
                  <a:moveTo>
                    <a:pt x="1812837" y="894309"/>
                  </a:moveTo>
                  <a:lnTo>
                    <a:pt x="1811009" y="888216"/>
                  </a:lnTo>
                  <a:cubicBezTo>
                    <a:pt x="1834467" y="881149"/>
                    <a:pt x="1858169" y="874264"/>
                    <a:pt x="1881383" y="867927"/>
                  </a:cubicBezTo>
                  <a:lnTo>
                    <a:pt x="1883028" y="874020"/>
                  </a:lnTo>
                  <a:cubicBezTo>
                    <a:pt x="1859692" y="880174"/>
                    <a:pt x="1836234" y="886937"/>
                    <a:pt x="1812715" y="894066"/>
                  </a:cubicBezTo>
                  <a:close/>
                  <a:moveTo>
                    <a:pt x="3035084" y="890958"/>
                  </a:moveTo>
                  <a:lnTo>
                    <a:pt x="2963430" y="874264"/>
                  </a:lnTo>
                  <a:lnTo>
                    <a:pt x="2964832" y="868171"/>
                  </a:lnTo>
                  <a:lnTo>
                    <a:pt x="3036058" y="884622"/>
                  </a:lnTo>
                  <a:close/>
                  <a:moveTo>
                    <a:pt x="6276048" y="888034"/>
                  </a:moveTo>
                  <a:lnTo>
                    <a:pt x="6273732" y="882428"/>
                  </a:lnTo>
                  <a:cubicBezTo>
                    <a:pt x="6296276" y="873106"/>
                    <a:pt x="6318881" y="863479"/>
                    <a:pt x="6340755" y="853791"/>
                  </a:cubicBezTo>
                  <a:lnTo>
                    <a:pt x="6343192" y="859397"/>
                  </a:lnTo>
                  <a:cubicBezTo>
                    <a:pt x="6321196" y="868841"/>
                    <a:pt x="6298530" y="878468"/>
                    <a:pt x="6275926" y="887790"/>
                  </a:cubicBezTo>
                  <a:close/>
                  <a:moveTo>
                    <a:pt x="10302149" y="872557"/>
                  </a:moveTo>
                  <a:cubicBezTo>
                    <a:pt x="10281433" y="860372"/>
                    <a:pt x="10260412" y="848003"/>
                    <a:pt x="10239148" y="835452"/>
                  </a:cubicBezTo>
                  <a:lnTo>
                    <a:pt x="10242255" y="830211"/>
                  </a:lnTo>
                  <a:cubicBezTo>
                    <a:pt x="10263520" y="842842"/>
                    <a:pt x="10284480" y="855211"/>
                    <a:pt x="10305195" y="867318"/>
                  </a:cubicBezTo>
                  <a:close/>
                  <a:moveTo>
                    <a:pt x="2892326" y="857447"/>
                  </a:moveTo>
                  <a:lnTo>
                    <a:pt x="2831396" y="842824"/>
                  </a:lnTo>
                  <a:lnTo>
                    <a:pt x="2821282" y="840387"/>
                  </a:lnTo>
                  <a:lnTo>
                    <a:pt x="2822622" y="834294"/>
                  </a:lnTo>
                  <a:lnTo>
                    <a:pt x="2832858" y="836670"/>
                  </a:lnTo>
                  <a:lnTo>
                    <a:pt x="2893788" y="851354"/>
                  </a:lnTo>
                  <a:close/>
                  <a:moveTo>
                    <a:pt x="1953645" y="855680"/>
                  </a:moveTo>
                  <a:lnTo>
                    <a:pt x="1952183" y="849587"/>
                  </a:lnTo>
                  <a:cubicBezTo>
                    <a:pt x="1976006" y="843860"/>
                    <a:pt x="2000013" y="838498"/>
                    <a:pt x="2023653" y="833624"/>
                  </a:cubicBezTo>
                  <a:lnTo>
                    <a:pt x="2024872" y="839717"/>
                  </a:lnTo>
                  <a:cubicBezTo>
                    <a:pt x="2001292" y="844591"/>
                    <a:pt x="1977347" y="849953"/>
                    <a:pt x="1953645" y="855680"/>
                  </a:cubicBezTo>
                  <a:close/>
                  <a:moveTo>
                    <a:pt x="6409788" y="828871"/>
                  </a:moveTo>
                  <a:lnTo>
                    <a:pt x="6407168" y="823327"/>
                  </a:lnTo>
                  <a:cubicBezTo>
                    <a:pt x="6428067" y="813517"/>
                    <a:pt x="6449209" y="803281"/>
                    <a:pt x="6469925" y="792862"/>
                  </a:cubicBezTo>
                  <a:lnTo>
                    <a:pt x="6472911" y="791339"/>
                  </a:lnTo>
                  <a:lnTo>
                    <a:pt x="6475652" y="796761"/>
                  </a:lnTo>
                  <a:lnTo>
                    <a:pt x="6472606" y="798284"/>
                  </a:lnTo>
                  <a:cubicBezTo>
                    <a:pt x="6451890" y="808764"/>
                    <a:pt x="6430747" y="819000"/>
                    <a:pt x="6409788" y="828871"/>
                  </a:cubicBezTo>
                  <a:close/>
                  <a:moveTo>
                    <a:pt x="2096586" y="826008"/>
                  </a:moveTo>
                  <a:lnTo>
                    <a:pt x="2095550" y="819915"/>
                  </a:lnTo>
                  <a:cubicBezTo>
                    <a:pt x="2119617" y="815710"/>
                    <a:pt x="2143928" y="811932"/>
                    <a:pt x="2167813" y="808642"/>
                  </a:cubicBezTo>
                  <a:lnTo>
                    <a:pt x="2168666" y="814735"/>
                  </a:lnTo>
                  <a:cubicBezTo>
                    <a:pt x="2144842" y="818208"/>
                    <a:pt x="2120592" y="821864"/>
                    <a:pt x="2096586" y="826008"/>
                  </a:cubicBezTo>
                  <a:close/>
                  <a:moveTo>
                    <a:pt x="2749690" y="825337"/>
                  </a:moveTo>
                  <a:cubicBezTo>
                    <a:pt x="2725866" y="820828"/>
                    <a:pt x="2701677" y="816868"/>
                    <a:pt x="2677671" y="813151"/>
                  </a:cubicBezTo>
                  <a:lnTo>
                    <a:pt x="2678524" y="807058"/>
                  </a:lnTo>
                  <a:cubicBezTo>
                    <a:pt x="2702591" y="810531"/>
                    <a:pt x="2726902" y="814553"/>
                    <a:pt x="2750786" y="819244"/>
                  </a:cubicBezTo>
                  <a:close/>
                  <a:moveTo>
                    <a:pt x="2241050" y="806022"/>
                  </a:moveTo>
                  <a:lnTo>
                    <a:pt x="2240440" y="799930"/>
                  </a:lnTo>
                  <a:cubicBezTo>
                    <a:pt x="2264812" y="797492"/>
                    <a:pt x="2289184" y="795421"/>
                    <a:pt x="2313556" y="793837"/>
                  </a:cubicBezTo>
                  <a:lnTo>
                    <a:pt x="2313921" y="799930"/>
                  </a:lnTo>
                  <a:cubicBezTo>
                    <a:pt x="2289672" y="801636"/>
                    <a:pt x="2265239" y="803646"/>
                    <a:pt x="2241050" y="806022"/>
                  </a:cubicBezTo>
                  <a:close/>
                  <a:moveTo>
                    <a:pt x="2605226" y="804560"/>
                  </a:moveTo>
                  <a:cubicBezTo>
                    <a:pt x="2581219" y="802184"/>
                    <a:pt x="2556482" y="800295"/>
                    <a:pt x="2532476" y="798894"/>
                  </a:cubicBezTo>
                  <a:lnTo>
                    <a:pt x="2532841" y="792801"/>
                  </a:lnTo>
                  <a:cubicBezTo>
                    <a:pt x="2557213" y="794141"/>
                    <a:pt x="2581585" y="796030"/>
                    <a:pt x="2605957" y="798406"/>
                  </a:cubicBezTo>
                  <a:close/>
                  <a:moveTo>
                    <a:pt x="10176147" y="797797"/>
                  </a:moveTo>
                  <a:cubicBezTo>
                    <a:pt x="10155492" y="785611"/>
                    <a:pt x="10134593" y="773120"/>
                    <a:pt x="10113389" y="760325"/>
                  </a:cubicBezTo>
                  <a:lnTo>
                    <a:pt x="10116497" y="755085"/>
                  </a:lnTo>
                  <a:cubicBezTo>
                    <a:pt x="10137700" y="767838"/>
                    <a:pt x="10158599" y="780329"/>
                    <a:pt x="10179254" y="792557"/>
                  </a:cubicBezTo>
                  <a:close/>
                  <a:moveTo>
                    <a:pt x="2386550" y="796700"/>
                  </a:moveTo>
                  <a:lnTo>
                    <a:pt x="2386550" y="790607"/>
                  </a:lnTo>
                  <a:cubicBezTo>
                    <a:pt x="2410921" y="789998"/>
                    <a:pt x="2435293" y="789876"/>
                    <a:pt x="2459665" y="790242"/>
                  </a:cubicBezTo>
                  <a:lnTo>
                    <a:pt x="2459665" y="796335"/>
                  </a:lnTo>
                  <a:cubicBezTo>
                    <a:pt x="2435354" y="796091"/>
                    <a:pt x="2410921" y="796213"/>
                    <a:pt x="2386550" y="796822"/>
                  </a:cubicBezTo>
                  <a:close/>
                  <a:moveTo>
                    <a:pt x="6539994" y="762153"/>
                  </a:moveTo>
                  <a:lnTo>
                    <a:pt x="6536948" y="756852"/>
                  </a:lnTo>
                  <a:cubicBezTo>
                    <a:pt x="6556811" y="745519"/>
                    <a:pt x="6577892" y="732846"/>
                    <a:pt x="6599522" y="719259"/>
                  </a:cubicBezTo>
                  <a:lnTo>
                    <a:pt x="6602752" y="724438"/>
                  </a:lnTo>
                  <a:cubicBezTo>
                    <a:pt x="6581183" y="738025"/>
                    <a:pt x="6560040" y="750759"/>
                    <a:pt x="6539994" y="762153"/>
                  </a:cubicBezTo>
                  <a:close/>
                  <a:moveTo>
                    <a:pt x="10050571" y="722854"/>
                  </a:moveTo>
                  <a:lnTo>
                    <a:pt x="9987997" y="685077"/>
                  </a:lnTo>
                  <a:lnTo>
                    <a:pt x="9991165" y="679837"/>
                  </a:lnTo>
                  <a:cubicBezTo>
                    <a:pt x="10012246" y="692633"/>
                    <a:pt x="10033085" y="705227"/>
                    <a:pt x="10053739" y="717614"/>
                  </a:cubicBezTo>
                  <a:close/>
                  <a:moveTo>
                    <a:pt x="6664230" y="684590"/>
                  </a:moveTo>
                  <a:lnTo>
                    <a:pt x="6660817" y="679472"/>
                  </a:lnTo>
                  <a:cubicBezTo>
                    <a:pt x="6679584" y="666981"/>
                    <a:pt x="6699325" y="653516"/>
                    <a:pt x="6721199" y="638283"/>
                  </a:cubicBezTo>
                  <a:lnTo>
                    <a:pt x="6724672" y="643341"/>
                  </a:lnTo>
                  <a:cubicBezTo>
                    <a:pt x="6702920" y="658512"/>
                    <a:pt x="6683118" y="671977"/>
                    <a:pt x="6664352" y="684590"/>
                  </a:cubicBezTo>
                  <a:close/>
                  <a:moveTo>
                    <a:pt x="9925483" y="647118"/>
                  </a:moveTo>
                  <a:lnTo>
                    <a:pt x="9863030" y="609159"/>
                  </a:lnTo>
                  <a:lnTo>
                    <a:pt x="9866198" y="603919"/>
                  </a:lnTo>
                  <a:lnTo>
                    <a:pt x="9928651" y="641939"/>
                  </a:lnTo>
                  <a:close/>
                  <a:moveTo>
                    <a:pt x="6784504" y="601177"/>
                  </a:moveTo>
                  <a:lnTo>
                    <a:pt x="6780971" y="596242"/>
                  </a:lnTo>
                  <a:cubicBezTo>
                    <a:pt x="6800590" y="582289"/>
                    <a:pt x="6820392" y="568032"/>
                    <a:pt x="6840438" y="553591"/>
                  </a:cubicBezTo>
                  <a:lnTo>
                    <a:pt x="6843972" y="558527"/>
                  </a:lnTo>
                  <a:cubicBezTo>
                    <a:pt x="6824109" y="573028"/>
                    <a:pt x="6804307" y="587243"/>
                    <a:pt x="6784626" y="601177"/>
                  </a:cubicBezTo>
                  <a:close/>
                  <a:moveTo>
                    <a:pt x="9800516" y="571017"/>
                  </a:moveTo>
                  <a:lnTo>
                    <a:pt x="9738185" y="532814"/>
                  </a:lnTo>
                  <a:lnTo>
                    <a:pt x="9741415" y="527635"/>
                  </a:lnTo>
                  <a:lnTo>
                    <a:pt x="9803685" y="565838"/>
                  </a:lnTo>
                  <a:close/>
                  <a:moveTo>
                    <a:pt x="6903256" y="516181"/>
                  </a:moveTo>
                  <a:lnTo>
                    <a:pt x="6899722" y="511245"/>
                  </a:lnTo>
                  <a:cubicBezTo>
                    <a:pt x="6919342" y="497189"/>
                    <a:pt x="6939205" y="482974"/>
                    <a:pt x="6959311" y="468595"/>
                  </a:cubicBezTo>
                  <a:lnTo>
                    <a:pt x="6962784" y="473591"/>
                  </a:lnTo>
                  <a:cubicBezTo>
                    <a:pt x="6942982" y="487727"/>
                    <a:pt x="6923119" y="501923"/>
                    <a:pt x="6903500" y="515937"/>
                  </a:cubicBezTo>
                  <a:close/>
                  <a:moveTo>
                    <a:pt x="9675855" y="494916"/>
                  </a:moveTo>
                  <a:cubicBezTo>
                    <a:pt x="9654955" y="482243"/>
                    <a:pt x="9633813" y="469691"/>
                    <a:pt x="9613097" y="457505"/>
                  </a:cubicBezTo>
                  <a:lnTo>
                    <a:pt x="9616143" y="452266"/>
                  </a:lnTo>
                  <a:cubicBezTo>
                    <a:pt x="9636921" y="464451"/>
                    <a:pt x="9658063" y="477003"/>
                    <a:pt x="9679022" y="489676"/>
                  </a:cubicBezTo>
                  <a:close/>
                  <a:moveTo>
                    <a:pt x="7022678" y="431854"/>
                  </a:moveTo>
                  <a:lnTo>
                    <a:pt x="7019205" y="426858"/>
                  </a:lnTo>
                  <a:cubicBezTo>
                    <a:pt x="7040409" y="412235"/>
                    <a:pt x="7060150" y="398708"/>
                    <a:pt x="7079708" y="385670"/>
                  </a:cubicBezTo>
                  <a:lnTo>
                    <a:pt x="7083120" y="390727"/>
                  </a:lnTo>
                  <a:cubicBezTo>
                    <a:pt x="7063988" y="403522"/>
                    <a:pt x="7044064" y="416987"/>
                    <a:pt x="7022922" y="431610"/>
                  </a:cubicBezTo>
                  <a:close/>
                  <a:moveTo>
                    <a:pt x="9549913" y="420826"/>
                  </a:moveTo>
                  <a:cubicBezTo>
                    <a:pt x="9528710" y="408640"/>
                    <a:pt x="9507262" y="396941"/>
                    <a:pt x="9486059" y="385304"/>
                  </a:cubicBezTo>
                  <a:lnTo>
                    <a:pt x="9488922" y="380003"/>
                  </a:lnTo>
                  <a:cubicBezTo>
                    <a:pt x="9510187" y="391580"/>
                    <a:pt x="9531573" y="403522"/>
                    <a:pt x="9552899" y="415525"/>
                  </a:cubicBezTo>
                  <a:close/>
                  <a:moveTo>
                    <a:pt x="9421961" y="350879"/>
                  </a:moveTo>
                  <a:cubicBezTo>
                    <a:pt x="9400453" y="339546"/>
                    <a:pt x="9378579" y="328335"/>
                    <a:pt x="9357010" y="317489"/>
                  </a:cubicBezTo>
                  <a:lnTo>
                    <a:pt x="9359752" y="312067"/>
                  </a:lnTo>
                  <a:cubicBezTo>
                    <a:pt x="9381321" y="322912"/>
                    <a:pt x="9403256" y="334123"/>
                    <a:pt x="9424824" y="345456"/>
                  </a:cubicBezTo>
                  <a:close/>
                  <a:moveTo>
                    <a:pt x="7144659" y="350330"/>
                  </a:moveTo>
                  <a:lnTo>
                    <a:pt x="7141368" y="345212"/>
                  </a:lnTo>
                  <a:cubicBezTo>
                    <a:pt x="7162451" y="331686"/>
                    <a:pt x="7183288" y="318586"/>
                    <a:pt x="7203334" y="306278"/>
                  </a:cubicBezTo>
                  <a:lnTo>
                    <a:pt x="7206502" y="311457"/>
                  </a:lnTo>
                  <a:cubicBezTo>
                    <a:pt x="7186273" y="323765"/>
                    <a:pt x="7165436" y="336865"/>
                    <a:pt x="7144415" y="350330"/>
                  </a:cubicBezTo>
                  <a:close/>
                  <a:moveTo>
                    <a:pt x="9291450" y="285258"/>
                  </a:moveTo>
                  <a:cubicBezTo>
                    <a:pt x="9269393" y="274656"/>
                    <a:pt x="9247094" y="264237"/>
                    <a:pt x="9225280" y="254306"/>
                  </a:cubicBezTo>
                  <a:lnTo>
                    <a:pt x="9227840" y="248761"/>
                  </a:lnTo>
                  <a:cubicBezTo>
                    <a:pt x="9249652" y="258753"/>
                    <a:pt x="9271953" y="269172"/>
                    <a:pt x="9294070" y="279774"/>
                  </a:cubicBezTo>
                  <a:close/>
                  <a:moveTo>
                    <a:pt x="7269259" y="274108"/>
                  </a:moveTo>
                  <a:lnTo>
                    <a:pt x="7266213" y="268807"/>
                  </a:lnTo>
                  <a:cubicBezTo>
                    <a:pt x="7287599" y="256621"/>
                    <a:pt x="7308864" y="244435"/>
                    <a:pt x="7330068" y="233041"/>
                  </a:cubicBezTo>
                  <a:lnTo>
                    <a:pt x="7332992" y="238403"/>
                  </a:lnTo>
                  <a:cubicBezTo>
                    <a:pt x="7311789" y="249736"/>
                    <a:pt x="7290342" y="261739"/>
                    <a:pt x="7269016" y="274108"/>
                  </a:cubicBezTo>
                  <a:close/>
                  <a:moveTo>
                    <a:pt x="9158563" y="224633"/>
                  </a:moveTo>
                  <a:cubicBezTo>
                    <a:pt x="9136140" y="214945"/>
                    <a:pt x="9113475" y="205440"/>
                    <a:pt x="9091540" y="196361"/>
                  </a:cubicBezTo>
                  <a:lnTo>
                    <a:pt x="9093795" y="190695"/>
                  </a:lnTo>
                  <a:cubicBezTo>
                    <a:pt x="9116095" y="199774"/>
                    <a:pt x="9138822" y="209340"/>
                    <a:pt x="9161304" y="219027"/>
                  </a:cubicBezTo>
                  <a:close/>
                  <a:moveTo>
                    <a:pt x="7397699" y="204587"/>
                  </a:moveTo>
                  <a:lnTo>
                    <a:pt x="7394957" y="199164"/>
                  </a:lnTo>
                  <a:cubicBezTo>
                    <a:pt x="7416953" y="188136"/>
                    <a:pt x="7439131" y="177473"/>
                    <a:pt x="7460944" y="167420"/>
                  </a:cubicBezTo>
                  <a:lnTo>
                    <a:pt x="7463443" y="172965"/>
                  </a:lnTo>
                  <a:cubicBezTo>
                    <a:pt x="7441751" y="182957"/>
                    <a:pt x="7419390" y="193620"/>
                    <a:pt x="7397455" y="204587"/>
                  </a:cubicBezTo>
                  <a:close/>
                  <a:moveTo>
                    <a:pt x="9023299" y="169613"/>
                  </a:moveTo>
                  <a:cubicBezTo>
                    <a:pt x="9000450" y="160900"/>
                    <a:pt x="8977358" y="152431"/>
                    <a:pt x="8954693" y="144389"/>
                  </a:cubicBezTo>
                  <a:lnTo>
                    <a:pt x="8956764" y="138661"/>
                  </a:lnTo>
                  <a:cubicBezTo>
                    <a:pt x="8979430" y="146704"/>
                    <a:pt x="9002522" y="155173"/>
                    <a:pt x="9025432" y="163886"/>
                  </a:cubicBezTo>
                  <a:close/>
                  <a:moveTo>
                    <a:pt x="7530525" y="143596"/>
                  </a:moveTo>
                  <a:lnTo>
                    <a:pt x="7528150" y="137991"/>
                  </a:lnTo>
                  <a:cubicBezTo>
                    <a:pt x="7550754" y="128547"/>
                    <a:pt x="7573603" y="119712"/>
                    <a:pt x="7596208" y="111060"/>
                  </a:cubicBezTo>
                  <a:lnTo>
                    <a:pt x="7598340" y="116727"/>
                  </a:lnTo>
                  <a:cubicBezTo>
                    <a:pt x="7575370" y="125135"/>
                    <a:pt x="7552522" y="134213"/>
                    <a:pt x="7530038" y="143596"/>
                  </a:cubicBezTo>
                  <a:close/>
                  <a:moveTo>
                    <a:pt x="8885842" y="120931"/>
                  </a:moveTo>
                  <a:cubicBezTo>
                    <a:pt x="8862567" y="113375"/>
                    <a:pt x="8839109" y="106064"/>
                    <a:pt x="8816078" y="99240"/>
                  </a:cubicBezTo>
                  <a:lnTo>
                    <a:pt x="8817844" y="93147"/>
                  </a:lnTo>
                  <a:cubicBezTo>
                    <a:pt x="8840876" y="99971"/>
                    <a:pt x="8864395" y="107283"/>
                    <a:pt x="8887730" y="114899"/>
                  </a:cubicBezTo>
                  <a:close/>
                  <a:moveTo>
                    <a:pt x="7667252" y="92538"/>
                  </a:moveTo>
                  <a:lnTo>
                    <a:pt x="7665362" y="86749"/>
                  </a:lnTo>
                  <a:cubicBezTo>
                    <a:pt x="7688516" y="79133"/>
                    <a:pt x="7712035" y="71943"/>
                    <a:pt x="7735310" y="65302"/>
                  </a:cubicBezTo>
                  <a:lnTo>
                    <a:pt x="7737016" y="71395"/>
                  </a:lnTo>
                  <a:cubicBezTo>
                    <a:pt x="7713254" y="77732"/>
                    <a:pt x="7689795" y="84921"/>
                    <a:pt x="7666703" y="92538"/>
                  </a:cubicBezTo>
                  <a:close/>
                  <a:moveTo>
                    <a:pt x="8745704" y="79499"/>
                  </a:moveTo>
                  <a:cubicBezTo>
                    <a:pt x="8722063" y="73406"/>
                    <a:pt x="8698240" y="67313"/>
                    <a:pt x="8674843" y="61829"/>
                  </a:cubicBezTo>
                  <a:lnTo>
                    <a:pt x="8676244" y="55736"/>
                  </a:lnTo>
                  <a:cubicBezTo>
                    <a:pt x="8699641" y="61220"/>
                    <a:pt x="8723526" y="67191"/>
                    <a:pt x="8747227" y="73467"/>
                  </a:cubicBezTo>
                  <a:close/>
                  <a:moveTo>
                    <a:pt x="7807390" y="52690"/>
                  </a:moveTo>
                  <a:lnTo>
                    <a:pt x="7805927" y="46597"/>
                  </a:lnTo>
                  <a:cubicBezTo>
                    <a:pt x="7829629" y="40930"/>
                    <a:pt x="7853696" y="35690"/>
                    <a:pt x="7877459" y="31060"/>
                  </a:cubicBezTo>
                  <a:lnTo>
                    <a:pt x="7878616" y="37153"/>
                  </a:lnTo>
                  <a:cubicBezTo>
                    <a:pt x="7854610" y="41844"/>
                    <a:pt x="7830603" y="47023"/>
                    <a:pt x="7807329" y="52690"/>
                  </a:cubicBezTo>
                  <a:close/>
                  <a:moveTo>
                    <a:pt x="8603556" y="46292"/>
                  </a:moveTo>
                  <a:cubicBezTo>
                    <a:pt x="8579610" y="41479"/>
                    <a:pt x="8555482" y="37031"/>
                    <a:pt x="8531720" y="33070"/>
                  </a:cubicBezTo>
                  <a:lnTo>
                    <a:pt x="8532756" y="26977"/>
                  </a:lnTo>
                  <a:cubicBezTo>
                    <a:pt x="8556518" y="30938"/>
                    <a:pt x="8580767" y="35386"/>
                    <a:pt x="8604713" y="40199"/>
                  </a:cubicBezTo>
                  <a:close/>
                  <a:moveTo>
                    <a:pt x="7950513" y="24784"/>
                  </a:moveTo>
                  <a:lnTo>
                    <a:pt x="7949599" y="18691"/>
                  </a:lnTo>
                  <a:cubicBezTo>
                    <a:pt x="7973605" y="15035"/>
                    <a:pt x="7998343" y="11928"/>
                    <a:pt x="8022166" y="9308"/>
                  </a:cubicBezTo>
                  <a:lnTo>
                    <a:pt x="8022836" y="15401"/>
                  </a:lnTo>
                  <a:cubicBezTo>
                    <a:pt x="7998403" y="18082"/>
                    <a:pt x="7974093" y="21189"/>
                    <a:pt x="7950147" y="24784"/>
                  </a:cubicBezTo>
                  <a:close/>
                  <a:moveTo>
                    <a:pt x="8459518" y="22286"/>
                  </a:moveTo>
                  <a:cubicBezTo>
                    <a:pt x="8435146" y="19117"/>
                    <a:pt x="8410775" y="16193"/>
                    <a:pt x="8387012" y="14121"/>
                  </a:cubicBezTo>
                  <a:lnTo>
                    <a:pt x="8387621" y="8028"/>
                  </a:lnTo>
                  <a:cubicBezTo>
                    <a:pt x="8411567" y="10283"/>
                    <a:pt x="8436365" y="13085"/>
                    <a:pt x="8460310" y="16254"/>
                  </a:cubicBezTo>
                  <a:close/>
                  <a:moveTo>
                    <a:pt x="8095465" y="9247"/>
                  </a:moveTo>
                  <a:lnTo>
                    <a:pt x="8095099" y="3154"/>
                  </a:lnTo>
                  <a:cubicBezTo>
                    <a:pt x="8119166" y="1631"/>
                    <a:pt x="8143842" y="534"/>
                    <a:pt x="8168214" y="-14"/>
                  </a:cubicBezTo>
                  <a:lnTo>
                    <a:pt x="8168214" y="6078"/>
                  </a:lnTo>
                  <a:cubicBezTo>
                    <a:pt x="8143659" y="6627"/>
                    <a:pt x="8119105" y="7845"/>
                    <a:pt x="8095099" y="9247"/>
                  </a:cubicBezTo>
                  <a:close/>
                  <a:moveTo>
                    <a:pt x="8314262" y="8577"/>
                  </a:moveTo>
                  <a:cubicBezTo>
                    <a:pt x="8289890" y="7236"/>
                    <a:pt x="8265518" y="6322"/>
                    <a:pt x="8241147" y="5896"/>
                  </a:cubicBezTo>
                  <a:lnTo>
                    <a:pt x="8241147" y="-197"/>
                  </a:lnTo>
                  <a:cubicBezTo>
                    <a:pt x="8265518" y="229"/>
                    <a:pt x="8289890" y="1143"/>
                    <a:pt x="8314262" y="2484"/>
                  </a:cubicBezTo>
                  <a:close/>
                </a:path>
              </a:pathLst>
            </a:custGeom>
            <a:solidFill>
              <a:schemeClr val="bg1"/>
            </a:solidFill>
            <a:ln w="6093" cap="flat">
              <a:noFill/>
              <a:prstDash val="solid"/>
              <a:miter/>
            </a:ln>
          </p:spPr>
          <p:txBody>
            <a:bodyPr rtlCol="0" anchor="ctr"/>
            <a:lstStyle/>
            <a:p>
              <a:endParaRPr lang="en-US"/>
            </a:p>
          </p:txBody>
        </p:sp>
      </p:grpSp>
      <p:sp>
        <p:nvSpPr>
          <p:cNvPr id="10" name="Title 2">
            <a:extLst>
              <a:ext uri="{FF2B5EF4-FFF2-40B4-BE49-F238E27FC236}">
                <a16:creationId xmlns:a16="http://schemas.microsoft.com/office/drawing/2014/main" id="{38FA7265-4C00-7624-6B55-7AC2E86B7BDE}"/>
              </a:ext>
            </a:extLst>
          </p:cNvPr>
          <p:cNvSpPr txBox="1">
            <a:spLocks/>
          </p:cNvSpPr>
          <p:nvPr/>
        </p:nvSpPr>
        <p:spPr>
          <a:xfrm>
            <a:off x="1485163" y="3942130"/>
            <a:ext cx="4460328" cy="1831106"/>
          </a:xfrm>
          <a:prstGeom prst="rect">
            <a:avLst/>
          </a:prstGeom>
        </p:spPr>
        <p:txBody>
          <a:bodyPr vert="horz" lIns="91440" tIns="45720" rIns="91440" bIns="45720" rtlCol="0" anchor="t">
            <a:noAutofit/>
          </a:bodyPr>
          <a:lstStyle>
            <a:lvl1pPr algn="ctr" defTabSz="457200" rtl="0" eaLnBrk="1" latinLnBrk="0" hangingPunct="1">
              <a:spcBef>
                <a:spcPct val="0"/>
              </a:spcBef>
              <a:buNone/>
              <a:defRPr sz="2800" b="1" kern="1200">
                <a:solidFill>
                  <a:srgbClr val="FFFFFF"/>
                </a:solidFill>
                <a:latin typeface="Century Gothic" panose="020B0502020202020204" pitchFamily="34" charset="0"/>
                <a:ea typeface="+mj-ea"/>
                <a:cs typeface="Arial"/>
              </a:defRPr>
            </a:lvl1pPr>
          </a:lstStyle>
          <a:p>
            <a:pPr algn="ctr"/>
            <a:r>
              <a:rPr lang="en-US" sz="2000" b="1" dirty="0">
                <a:effectLst/>
                <a:latin typeface="Noah Reg"/>
              </a:rPr>
              <a:t>Vivien Dugan, PhD</a:t>
            </a:r>
          </a:p>
          <a:p>
            <a:pPr algn="ctr"/>
            <a:r>
              <a:rPr lang="en-US" sz="2000" dirty="0">
                <a:latin typeface="Noah Reg"/>
              </a:rPr>
              <a:t>Director, Influenza Division, </a:t>
            </a:r>
          </a:p>
          <a:p>
            <a:pPr algn="ctr"/>
            <a:r>
              <a:rPr lang="en-US" sz="2000" dirty="0">
                <a:latin typeface="Noah Reg"/>
              </a:rPr>
              <a:t>National Center for Immunization and Respiratory Diseases,</a:t>
            </a:r>
          </a:p>
          <a:p>
            <a:pPr algn="ctr"/>
            <a:r>
              <a:rPr lang="en-US" sz="2000" b="1" dirty="0">
                <a:effectLst/>
                <a:latin typeface="Noah Reg"/>
              </a:rPr>
              <a:t>Centers for Disease Control and Prevention</a:t>
            </a:r>
          </a:p>
          <a:p>
            <a:pPr algn="ctr"/>
            <a:endParaRPr lang="en-US" sz="2000" dirty="0">
              <a:effectLst/>
              <a:latin typeface="Noah Reg"/>
            </a:endParaRPr>
          </a:p>
        </p:txBody>
      </p:sp>
      <p:pic>
        <p:nvPicPr>
          <p:cNvPr id="11" name="Picture Placeholder 6">
            <a:extLst>
              <a:ext uri="{FF2B5EF4-FFF2-40B4-BE49-F238E27FC236}">
                <a16:creationId xmlns:a16="http://schemas.microsoft.com/office/drawing/2014/main" id="{FAC4DBFC-4C73-A778-942C-186140D3A964}"/>
              </a:ext>
            </a:extLst>
          </p:cNvPr>
          <p:cNvPicPr>
            <a:picLocks noChangeAspect="1"/>
          </p:cNvPicPr>
          <p:nvPr/>
        </p:nvPicPr>
        <p:blipFill>
          <a:blip r:embed="rId3">
            <a:extLst>
              <a:ext uri="{28A0092B-C50C-407E-A947-70E740481C1C}">
                <a14:useLocalDpi xmlns:a14="http://schemas.microsoft.com/office/drawing/2010/main" val="0"/>
              </a:ext>
            </a:extLst>
          </a:blip>
          <a:srcRect t="2687" b="2687"/>
          <a:stretch/>
        </p:blipFill>
        <p:spPr>
          <a:xfrm>
            <a:off x="2446642" y="1349326"/>
            <a:ext cx="2537370" cy="2519790"/>
          </a:xfrm>
          <a:prstGeom prst="flowChartConnector">
            <a:avLst/>
          </a:prstGeom>
          <a:effectLst>
            <a:innerShdw blurRad="114300" dist="25400">
              <a:prstClr val="black"/>
            </a:innerShdw>
          </a:effectLst>
        </p:spPr>
      </p:pic>
      <p:sp>
        <p:nvSpPr>
          <p:cNvPr id="5" name="Title 2">
            <a:extLst>
              <a:ext uri="{FF2B5EF4-FFF2-40B4-BE49-F238E27FC236}">
                <a16:creationId xmlns:a16="http://schemas.microsoft.com/office/drawing/2014/main" id="{01CA066D-3B5C-A26F-C96F-90CEB3BF7275}"/>
              </a:ext>
            </a:extLst>
          </p:cNvPr>
          <p:cNvSpPr txBox="1">
            <a:spLocks/>
          </p:cNvSpPr>
          <p:nvPr/>
        </p:nvSpPr>
        <p:spPr>
          <a:xfrm>
            <a:off x="6038289" y="3942130"/>
            <a:ext cx="4460328" cy="1831106"/>
          </a:xfrm>
          <a:prstGeom prst="rect">
            <a:avLst/>
          </a:prstGeom>
        </p:spPr>
        <p:txBody>
          <a:bodyPr vert="horz" lIns="91440" tIns="45720" rIns="91440" bIns="45720" rtlCol="0" anchor="t">
            <a:noAutofit/>
          </a:bodyPr>
          <a:lstStyle>
            <a:lvl1pPr algn="ctr" defTabSz="457200" rtl="0" eaLnBrk="1" latinLnBrk="0" hangingPunct="1">
              <a:spcBef>
                <a:spcPct val="0"/>
              </a:spcBef>
              <a:buNone/>
              <a:defRPr sz="2800" b="1" kern="1200">
                <a:solidFill>
                  <a:srgbClr val="FFFFFF"/>
                </a:solidFill>
                <a:latin typeface="Century Gothic" panose="020B0502020202020204" pitchFamily="34" charset="0"/>
                <a:ea typeface="+mj-ea"/>
                <a:cs typeface="Arial"/>
              </a:defRPr>
            </a:lvl1pPr>
          </a:lstStyle>
          <a:p>
            <a:pPr rtl="0"/>
            <a:r>
              <a:rPr lang="en-US" sz="2000" dirty="0">
                <a:solidFill>
                  <a:schemeClr val="bg1"/>
                </a:solidFill>
                <a:latin typeface="Noah Reg"/>
              </a:rPr>
              <a:t>Aspen Hammond, VMD, MPH, </a:t>
            </a:r>
          </a:p>
          <a:p>
            <a:pPr rtl="0"/>
            <a:r>
              <a:rPr lang="en-US" sz="2000" dirty="0">
                <a:solidFill>
                  <a:schemeClr val="bg1"/>
                </a:solidFill>
                <a:latin typeface="Noah Reg"/>
              </a:rPr>
              <a:t>Technical Officer, </a:t>
            </a:r>
          </a:p>
          <a:p>
            <a:pPr rtl="0"/>
            <a:r>
              <a:rPr lang="en-US" sz="2000" dirty="0">
                <a:solidFill>
                  <a:schemeClr val="bg1"/>
                </a:solidFill>
                <a:latin typeface="Noah Reg"/>
              </a:rPr>
              <a:t>Global Influenza Program, </a:t>
            </a:r>
          </a:p>
          <a:p>
            <a:pPr rtl="0"/>
            <a:r>
              <a:rPr lang="en-US" sz="2000" dirty="0">
                <a:solidFill>
                  <a:schemeClr val="bg1"/>
                </a:solidFill>
                <a:latin typeface="Noah Reg"/>
              </a:rPr>
              <a:t>World Health Organization </a:t>
            </a:r>
            <a:endParaRPr lang="en-US" sz="2000" b="1" i="0" dirty="0">
              <a:solidFill>
                <a:schemeClr val="bg1"/>
              </a:solidFill>
              <a:effectLst/>
              <a:latin typeface="Noah Reg"/>
            </a:endParaRPr>
          </a:p>
          <a:p>
            <a:pPr algn="l" rtl="0"/>
            <a:endParaRPr lang="en-US" sz="1050" dirty="0">
              <a:solidFill>
                <a:srgbClr val="000000"/>
              </a:solidFill>
              <a:highlight>
                <a:srgbClr val="FFFFFF"/>
              </a:highlight>
              <a:latin typeface="inherit"/>
            </a:endParaRPr>
          </a:p>
          <a:p>
            <a:pPr algn="l" rtl="0"/>
            <a:endParaRPr lang="en-US" sz="1050" b="1" i="0" dirty="0">
              <a:solidFill>
                <a:srgbClr val="000000"/>
              </a:solidFill>
              <a:effectLst/>
              <a:highlight>
                <a:srgbClr val="FFFFFF"/>
              </a:highlight>
              <a:latin typeface="inherit"/>
            </a:endParaRPr>
          </a:p>
        </p:txBody>
      </p:sp>
      <p:pic>
        <p:nvPicPr>
          <p:cNvPr id="6" name="Picture Placeholder 6">
            <a:extLst>
              <a:ext uri="{FF2B5EF4-FFF2-40B4-BE49-F238E27FC236}">
                <a16:creationId xmlns:a16="http://schemas.microsoft.com/office/drawing/2014/main" id="{11E57CA9-604F-A8F7-12D6-50CF8CBF015A}"/>
              </a:ext>
            </a:extLst>
          </p:cNvPr>
          <p:cNvPicPr>
            <a:picLocks noChangeAspect="1"/>
          </p:cNvPicPr>
          <p:nvPr/>
        </p:nvPicPr>
        <p:blipFill rotWithShape="1">
          <a:blip r:embed="rId4">
            <a:extLst>
              <a:ext uri="{28A0092B-C50C-407E-A947-70E740481C1C}">
                <a14:useLocalDpi xmlns:a14="http://schemas.microsoft.com/office/drawing/2010/main" val="0"/>
              </a:ext>
            </a:extLst>
          </a:blip>
          <a:srcRect l="-18048" r="-11348" b="5159"/>
          <a:stretch/>
        </p:blipFill>
        <p:spPr>
          <a:xfrm>
            <a:off x="6850912" y="1242514"/>
            <a:ext cx="2560217" cy="2614406"/>
          </a:xfrm>
          <a:prstGeom prst="flowChartConnector">
            <a:avLst/>
          </a:prstGeom>
          <a:solidFill>
            <a:schemeClr val="accent3">
              <a:lumMod val="40000"/>
              <a:lumOff val="60000"/>
            </a:schemeClr>
          </a:solidFill>
          <a:effectLst>
            <a:innerShdw blurRad="114300" dist="25400">
              <a:prstClr val="black"/>
            </a:innerShdw>
          </a:effectLst>
        </p:spPr>
      </p:pic>
    </p:spTree>
    <p:extLst>
      <p:ext uri="{BB962C8B-B14F-4D97-AF65-F5344CB8AC3E}">
        <p14:creationId xmlns:p14="http://schemas.microsoft.com/office/powerpoint/2010/main" val="7511475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8420D-ED7F-846D-7DF7-10FC38EBA20F}"/>
              </a:ext>
            </a:extLst>
          </p:cNvPr>
          <p:cNvSpPr>
            <a:spLocks noGrp="1"/>
          </p:cNvSpPr>
          <p:nvPr>
            <p:ph type="title"/>
          </p:nvPr>
        </p:nvSpPr>
        <p:spPr>
          <a:xfrm>
            <a:off x="469175" y="155956"/>
            <a:ext cx="10587082" cy="1266948"/>
          </a:xfrm>
        </p:spPr>
        <p:txBody>
          <a:bodyPr/>
          <a:lstStyle/>
          <a:p>
            <a:r>
              <a:rPr lang="en-US" dirty="0">
                <a:latin typeface="+mn-lt"/>
                <a:cs typeface="Arial" panose="020B0604020202020204" pitchFamily="34" charset="0"/>
              </a:rPr>
              <a:t>Public Health Risk</a:t>
            </a:r>
          </a:p>
        </p:txBody>
      </p:sp>
      <p:sp>
        <p:nvSpPr>
          <p:cNvPr id="3" name="Content Placeholder 2">
            <a:extLst>
              <a:ext uri="{FF2B5EF4-FFF2-40B4-BE49-F238E27FC236}">
                <a16:creationId xmlns:a16="http://schemas.microsoft.com/office/drawing/2014/main" id="{9020F1B1-3C8B-2A62-FC70-938F0F2A3B98}"/>
              </a:ext>
            </a:extLst>
          </p:cNvPr>
          <p:cNvSpPr>
            <a:spLocks noGrp="1"/>
          </p:cNvSpPr>
          <p:nvPr>
            <p:ph idx="1"/>
          </p:nvPr>
        </p:nvSpPr>
        <p:spPr>
          <a:xfrm>
            <a:off x="473641" y="1596829"/>
            <a:ext cx="6167246" cy="3872444"/>
          </a:xfrm>
        </p:spPr>
        <p:txBody>
          <a:bodyPr vert="horz" lIns="91440" tIns="45720" rIns="91440" bIns="45720" rtlCol="0" anchor="t">
            <a:normAutofit/>
          </a:bodyPr>
          <a:lstStyle/>
          <a:p>
            <a:pPr marL="0" indent="-274320">
              <a:lnSpc>
                <a:spcPct val="100000"/>
              </a:lnSpc>
              <a:spcBef>
                <a:spcPts val="1800"/>
              </a:spcBef>
            </a:pPr>
            <a:r>
              <a:rPr lang="en-US" sz="2600">
                <a:cs typeface="Arial"/>
              </a:rPr>
              <a:t>Overall risk to the public remains </a:t>
            </a:r>
            <a:r>
              <a:rPr lang="en-US" sz="2600" b="1">
                <a:cs typeface="Arial"/>
              </a:rPr>
              <a:t>low</a:t>
            </a:r>
          </a:p>
          <a:p>
            <a:pPr marL="274320" indent="-274320">
              <a:lnSpc>
                <a:spcPct val="100000"/>
              </a:lnSpc>
              <a:spcBef>
                <a:spcPts val="1800"/>
              </a:spcBef>
            </a:pPr>
            <a:r>
              <a:rPr lang="en-US" sz="2600">
                <a:cs typeface="Arial" panose="020B0604020202020204" pitchFamily="34" charset="0"/>
              </a:rPr>
              <a:t>Increased risk with exposure to infected animals or environment – occupational, recreational</a:t>
            </a:r>
          </a:p>
          <a:p>
            <a:pPr marL="274320" indent="-274320">
              <a:lnSpc>
                <a:spcPct val="100000"/>
              </a:lnSpc>
              <a:spcBef>
                <a:spcPts val="1800"/>
              </a:spcBef>
            </a:pPr>
            <a:r>
              <a:rPr lang="en-US" sz="2600">
                <a:cs typeface="Arial"/>
              </a:rPr>
              <a:t>Exposed individuals should monitor for symptoms after first exposure and for 10 days after last exposure</a:t>
            </a:r>
            <a:endParaRPr lang="en-US" sz="2600">
              <a:cs typeface="Arial" panose="020B0604020202020204" pitchFamily="34" charset="0"/>
            </a:endParaRPr>
          </a:p>
          <a:p>
            <a:pPr indent="-274320">
              <a:lnSpc>
                <a:spcPct val="100000"/>
              </a:lnSpc>
              <a:spcBef>
                <a:spcPts val="1800"/>
              </a:spcBef>
            </a:pPr>
            <a:endParaRPr lang="en-US" sz="260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FF313A51-2453-006C-75D4-930294B14D67}"/>
              </a:ext>
            </a:extLst>
          </p:cNvPr>
          <p:cNvSpPr txBox="1"/>
          <p:nvPr/>
        </p:nvSpPr>
        <p:spPr>
          <a:xfrm>
            <a:off x="856785" y="6236743"/>
            <a:ext cx="1113542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hlinkClick r:id="rId3"/>
              </a:rPr>
              <a:t>Highly Pathogenic Avian Influenza A(H5N1) Virus in Animals: Interim Recommendations for Prevention, Monitoring, and Public Health Investigations | Avian Influenza (Flu) (cdc.gov)</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83B0B291-C4E1-B2F4-39A7-0682165BCEB3}"/>
              </a:ext>
            </a:extLst>
          </p:cNvPr>
          <p:cNvPicPr>
            <a:picLocks noChangeAspect="1"/>
          </p:cNvPicPr>
          <p:nvPr/>
        </p:nvPicPr>
        <p:blipFill>
          <a:blip r:embed="rId4"/>
          <a:stretch>
            <a:fillRect/>
          </a:stretch>
        </p:blipFill>
        <p:spPr>
          <a:xfrm>
            <a:off x="6983119" y="705970"/>
            <a:ext cx="5206059" cy="5206059"/>
          </a:xfrm>
          <a:prstGeom prst="rect">
            <a:avLst/>
          </a:prstGeom>
        </p:spPr>
      </p:pic>
    </p:spTree>
    <p:extLst>
      <p:ext uri="{BB962C8B-B14F-4D97-AF65-F5344CB8AC3E}">
        <p14:creationId xmlns:p14="http://schemas.microsoft.com/office/powerpoint/2010/main" val="38650542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8420D-ED7F-846D-7DF7-10FC38EBA20F}"/>
              </a:ext>
            </a:extLst>
          </p:cNvPr>
          <p:cNvSpPr>
            <a:spLocks noGrp="1"/>
          </p:cNvSpPr>
          <p:nvPr>
            <p:ph type="title"/>
          </p:nvPr>
        </p:nvSpPr>
        <p:spPr>
          <a:xfrm>
            <a:off x="331305" y="-230666"/>
            <a:ext cx="5939241" cy="1708242"/>
          </a:xfrm>
        </p:spPr>
        <p:txBody>
          <a:bodyPr anchor="ctr">
            <a:normAutofit/>
          </a:bodyPr>
          <a:lstStyle/>
          <a:p>
            <a:r>
              <a:rPr lang="en-US" dirty="0">
                <a:latin typeface="Arial" panose="020B0604020202020204" pitchFamily="34" charset="0"/>
                <a:cs typeface="Arial" panose="020B0604020202020204" pitchFamily="34" charset="0"/>
              </a:rPr>
              <a:t>Resources from CDC</a:t>
            </a:r>
          </a:p>
        </p:txBody>
      </p:sp>
      <p:sp>
        <p:nvSpPr>
          <p:cNvPr id="3" name="Content Placeholder 2">
            <a:extLst>
              <a:ext uri="{FF2B5EF4-FFF2-40B4-BE49-F238E27FC236}">
                <a16:creationId xmlns:a16="http://schemas.microsoft.com/office/drawing/2014/main" id="{9020F1B1-3C8B-2A62-FC70-938F0F2A3B98}"/>
              </a:ext>
            </a:extLst>
          </p:cNvPr>
          <p:cNvSpPr>
            <a:spLocks noGrp="1"/>
          </p:cNvSpPr>
          <p:nvPr>
            <p:ph idx="1"/>
          </p:nvPr>
        </p:nvSpPr>
        <p:spPr>
          <a:xfrm>
            <a:off x="156754" y="1208314"/>
            <a:ext cx="6288344" cy="5026231"/>
          </a:xfrm>
        </p:spPr>
        <p:txBody>
          <a:bodyPr vert="horz" lIns="91440" tIns="45720" rIns="91440" bIns="45720" rtlCol="0" anchor="ctr">
            <a:noAutofit/>
          </a:bodyPr>
          <a:lstStyle/>
          <a:p>
            <a:pPr lvl="1">
              <a:buFont typeface="Calibri" panose="020F0502020204030204" pitchFamily="34" charset="0"/>
              <a:buChar char="―"/>
            </a:pPr>
            <a:r>
              <a:rPr lang="en-US" sz="1800" b="1">
                <a:latin typeface="Arial" panose="020B0604020202020204" pitchFamily="34" charset="0"/>
                <a:cs typeface="Arial" panose="020B0604020202020204" pitchFamily="34" charset="0"/>
              </a:rPr>
              <a:t>Situation Updates</a:t>
            </a:r>
            <a:r>
              <a:rPr lang="en-US" sz="1800" b="1">
                <a:solidFill>
                  <a:srgbClr val="0563C1"/>
                </a:solidFill>
                <a:latin typeface="Arial" panose="020B0604020202020204" pitchFamily="34" charset="0"/>
                <a:cs typeface="Arial" panose="020B0604020202020204" pitchFamily="34" charset="0"/>
              </a:rPr>
              <a:t>:</a:t>
            </a:r>
          </a:p>
          <a:p>
            <a:pPr lvl="2">
              <a:buFont typeface="Calibri" panose="020F0502020204030204" pitchFamily="34" charset="0"/>
              <a:buChar char="―"/>
            </a:pPr>
            <a:r>
              <a:rPr lang="pt-BR" sz="1800">
                <a:latin typeface="Arial" panose="020B0604020202020204" pitchFamily="34" charset="0"/>
                <a:cs typeface="Arial" panose="020B0604020202020204" pitchFamily="34" charset="0"/>
                <a:hlinkClick r:id="rId3"/>
              </a:rPr>
              <a:t>CDC A(H5N1) Bird Flu Response Update | Avian Influenza (Flu)</a:t>
            </a:r>
            <a:endParaRPr lang="en-US" sz="180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endParaRPr>
          </a:p>
          <a:p>
            <a:pPr lvl="1">
              <a:buFont typeface="Calibri" panose="020F0502020204030204" pitchFamily="34" charset="0"/>
              <a:buChar char="―"/>
            </a:pPr>
            <a:r>
              <a:rPr lang="en-US" sz="1800" b="1">
                <a:latin typeface="Arial" panose="020B0604020202020204" pitchFamily="34" charset="0"/>
                <a:cs typeface="Arial" panose="020B0604020202020204" pitchFamily="34" charset="0"/>
              </a:rPr>
              <a:t>Surveillance Updates</a:t>
            </a:r>
            <a:endParaRPr lang="en-US" sz="1800" b="1">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endParaRPr>
          </a:p>
          <a:p>
            <a:pPr lvl="2">
              <a:buFont typeface="Calibri" panose="020F0502020204030204" pitchFamily="34" charset="0"/>
              <a:buChar char="―"/>
            </a:pPr>
            <a:r>
              <a:rPr lang="en-US" sz="1800">
                <a:latin typeface="Arial" panose="020B0604020202020204" pitchFamily="34" charset="0"/>
                <a:cs typeface="Arial" panose="020B0604020202020204" pitchFamily="34" charset="0"/>
                <a:hlinkClick r:id="rId5"/>
              </a:rPr>
              <a:t>How CDC is monitoring influenza data among people to better understand the current avian influenza A (H5N1) situation | Avian Influenza (Flu)</a:t>
            </a:r>
            <a:endParaRPr lang="en-US" sz="1800">
              <a:latin typeface="Arial" panose="020B0604020202020204" pitchFamily="34" charset="0"/>
              <a:cs typeface="Arial" panose="020B0604020202020204" pitchFamily="34" charset="0"/>
            </a:endParaRPr>
          </a:p>
          <a:p>
            <a:pPr lvl="1">
              <a:buFont typeface="Calibri" panose="020F0502020204030204" pitchFamily="34" charset="0"/>
              <a:buChar char="―"/>
            </a:pPr>
            <a:r>
              <a:rPr lang="en-US" sz="1800" b="1">
                <a:latin typeface="Arial" panose="020B0604020202020204" pitchFamily="34" charset="0"/>
                <a:cs typeface="Arial" panose="020B0604020202020204" pitchFamily="34" charset="0"/>
              </a:rPr>
              <a:t>Technical Report</a:t>
            </a:r>
            <a:endParaRPr lang="en-US" sz="1800" b="1">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endParaRPr>
          </a:p>
          <a:p>
            <a:pPr lvl="2">
              <a:buFont typeface="Calibri" panose="020F0502020204030204" pitchFamily="34" charset="0"/>
              <a:buChar char="―"/>
            </a:pPr>
            <a:r>
              <a:rPr lang="en-US" sz="1800">
                <a:latin typeface="Arial" panose="020B0604020202020204" pitchFamily="34" charset="0"/>
                <a:cs typeface="Arial" panose="020B0604020202020204" pitchFamily="34" charset="0"/>
                <a:hlinkClick r:id="rId6"/>
              </a:rPr>
              <a:t>Technical Report: Highly Pathogenic Avian Influenza A(H5N1) Viruses | Avian Influenza (Flu) (cdc.gov)</a:t>
            </a:r>
            <a:endParaRPr lang="en-US" sz="180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endParaRPr>
          </a:p>
          <a:p>
            <a:pPr lvl="1">
              <a:buFont typeface="Calibri" panose="020F0502020204030204" pitchFamily="34" charset="0"/>
              <a:buChar char="―"/>
            </a:pPr>
            <a:r>
              <a:rPr lang="en-US" sz="1800" b="1">
                <a:latin typeface="Arial" panose="020B0604020202020204" pitchFamily="34" charset="0"/>
                <a:cs typeface="Arial" panose="020B0604020202020204" pitchFamily="34" charset="0"/>
              </a:rPr>
              <a:t>Updated Recommendations</a:t>
            </a:r>
            <a:endParaRPr lang="en-US" sz="1800" b="1">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endParaRPr>
          </a:p>
          <a:p>
            <a:pPr lvl="2">
              <a:buFont typeface="Calibri" panose="020F0502020204030204" pitchFamily="34" charset="0"/>
              <a:buChar char="―"/>
            </a:pPr>
            <a:r>
              <a:rPr lang="en-US" sz="1800">
                <a:solidFill>
                  <a:srgbClr val="0563C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ighly Pathogenic Avian Influenza A(H5N1) Virus in Animals: Interim Recommendations for Prevention, Monitoring, and Public Health Investigations </a:t>
            </a:r>
            <a:endParaRPr lang="en-US" sz="1800">
              <a:latin typeface="Arial" panose="020B0604020202020204" pitchFamily="34" charset="0"/>
              <a:cs typeface="Arial" panose="020B0604020202020204" pitchFamily="34" charset="0"/>
            </a:endParaRPr>
          </a:p>
          <a:p>
            <a:pPr lvl="2">
              <a:buFont typeface="Calibri" panose="020F0502020204030204" pitchFamily="34" charset="0"/>
              <a:buChar char="―"/>
            </a:pPr>
            <a:r>
              <a:rPr lang="en-US" sz="1800">
                <a:latin typeface="Arial" panose="020B0604020202020204" pitchFamily="34" charset="0"/>
                <a:cs typeface="Arial" panose="020B0604020202020204" pitchFamily="34" charset="0"/>
                <a:hlinkClick r:id="rId7"/>
              </a:rPr>
              <a:t>Recommendations for Worker Protection and Use of Personal Protective Equipment (PPE) to Reduce Exposure to Novel Influenza A Viruses Associated with Severe Disease in Humans</a:t>
            </a:r>
            <a:endParaRPr lang="en-US" sz="180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EE583237-8F54-E4F3-B3AE-FCE0BF6CC6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11AF8B-AA4A-4143-91D6-A716333E3D6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9A469ABA-8DD5-AD04-61EB-2B0802912BAA}"/>
              </a:ext>
            </a:extLst>
          </p:cNvPr>
          <p:cNvPicPr>
            <a:picLocks noChangeAspect="1"/>
          </p:cNvPicPr>
          <p:nvPr/>
        </p:nvPicPr>
        <p:blipFill>
          <a:blip r:embed="rId8"/>
          <a:stretch>
            <a:fillRect/>
          </a:stretch>
        </p:blipFill>
        <p:spPr>
          <a:xfrm>
            <a:off x="7261711" y="826510"/>
            <a:ext cx="4421251" cy="5204980"/>
          </a:xfrm>
          <a:prstGeom prst="rect">
            <a:avLst/>
          </a:prstGeom>
          <a:ln>
            <a:solidFill>
              <a:schemeClr val="bg2"/>
            </a:solidFill>
          </a:ln>
        </p:spPr>
      </p:pic>
    </p:spTree>
    <p:extLst>
      <p:ext uri="{BB962C8B-B14F-4D97-AF65-F5344CB8AC3E}">
        <p14:creationId xmlns:p14="http://schemas.microsoft.com/office/powerpoint/2010/main" val="31421971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847113-874A-F6CD-A1B3-08C811B2C8DA}"/>
              </a:ext>
            </a:extLst>
          </p:cNvPr>
          <p:cNvSpPr>
            <a:spLocks noGrp="1"/>
          </p:cNvSpPr>
          <p:nvPr>
            <p:ph type="title"/>
          </p:nvPr>
        </p:nvSpPr>
        <p:spPr/>
        <p:txBody>
          <a:bodyPr/>
          <a:lstStyle/>
          <a:p>
            <a:r>
              <a:rPr lang="en-US">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17342188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86B07-8824-4CDF-9446-C37CB896947C}"/>
              </a:ext>
            </a:extLst>
          </p:cNvPr>
          <p:cNvSpPr>
            <a:spLocks noGrp="1"/>
          </p:cNvSpPr>
          <p:nvPr>
            <p:ph type="title"/>
          </p:nvPr>
        </p:nvSpPr>
        <p:spPr>
          <a:xfrm>
            <a:off x="1707046" y="2393914"/>
            <a:ext cx="8467016" cy="1677754"/>
          </a:xfrm>
        </p:spPr>
        <p:txBody>
          <a:bodyPr>
            <a:noAutofit/>
          </a:bodyPr>
          <a:lstStyle/>
          <a:p>
            <a:r>
              <a:rPr lang="en-US" sz="13600"/>
              <a:t>Q&amp;A</a:t>
            </a:r>
          </a:p>
        </p:txBody>
      </p:sp>
    </p:spTree>
    <p:extLst>
      <p:ext uri="{BB962C8B-B14F-4D97-AF65-F5344CB8AC3E}">
        <p14:creationId xmlns:p14="http://schemas.microsoft.com/office/powerpoint/2010/main" val="2050893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E4F6294E-2AC1-4D9B-A9B7-FFA167971553}"/>
              </a:ext>
            </a:extLst>
          </p:cNvPr>
          <p:cNvSpPr txBox="1">
            <a:spLocks/>
          </p:cNvSpPr>
          <p:nvPr/>
        </p:nvSpPr>
        <p:spPr>
          <a:xfrm>
            <a:off x="0" y="2735504"/>
            <a:ext cx="12192000" cy="2141296"/>
          </a:xfrm>
          <a:prstGeom prst="rect">
            <a:avLst/>
          </a:prstGeom>
        </p:spPr>
        <p:txBody>
          <a:bodyPr vert="horz" lIns="91440" tIns="45720" rIns="91440" bIns="45720" rtlCol="0" anchor="t">
            <a:normAutofit fontScale="97500"/>
          </a:bodyPr>
          <a:lstStyle>
            <a:lvl1pPr algn="ctr" defTabSz="457200" rtl="0" eaLnBrk="1" latinLnBrk="0" hangingPunct="1">
              <a:spcBef>
                <a:spcPct val="0"/>
              </a:spcBef>
              <a:buNone/>
              <a:defRPr sz="2800" b="1" kern="1200">
                <a:solidFill>
                  <a:srgbClr val="FFFFFF"/>
                </a:solidFill>
                <a:latin typeface="Century Gothic" panose="020B0502020202020204" pitchFamily="34" charset="0"/>
                <a:ea typeface="+mj-ea"/>
                <a:cs typeface="Arial"/>
              </a:defRPr>
            </a:lvl1pPr>
          </a:lstStyle>
          <a:p>
            <a:r>
              <a:rPr lang="en-US" sz="3200"/>
              <a:t>This webinar recording and slides will be posted on </a:t>
            </a:r>
            <a:r>
              <a:rPr lang="en-US" sz="3200" b="1">
                <a:highlight>
                  <a:srgbClr val="975CA5"/>
                </a:highlight>
              </a:rPr>
              <a:t>www.icap.columbia.edu</a:t>
            </a:r>
            <a:endParaRPr lang="en-US" sz="4400" b="0">
              <a:solidFill>
                <a:schemeClr val="tx2"/>
              </a:solidFill>
              <a:latin typeface="+mn-lt"/>
            </a:endParaRPr>
          </a:p>
        </p:txBody>
      </p:sp>
    </p:spTree>
    <p:extLst>
      <p:ext uri="{BB962C8B-B14F-4D97-AF65-F5344CB8AC3E}">
        <p14:creationId xmlns:p14="http://schemas.microsoft.com/office/powerpoint/2010/main" val="38174735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86B07-8824-4CDF-9446-C37CB896947C}"/>
              </a:ext>
            </a:extLst>
          </p:cNvPr>
          <p:cNvSpPr>
            <a:spLocks noGrp="1"/>
          </p:cNvSpPr>
          <p:nvPr>
            <p:ph type="title"/>
          </p:nvPr>
        </p:nvSpPr>
        <p:spPr>
          <a:xfrm>
            <a:off x="1707046" y="2186880"/>
            <a:ext cx="8467016" cy="1677754"/>
          </a:xfrm>
        </p:spPr>
        <p:txBody>
          <a:bodyPr>
            <a:noAutofit/>
          </a:bodyPr>
          <a:lstStyle/>
          <a:p>
            <a:r>
              <a:rPr lang="en-US" sz="11300"/>
              <a:t>Thank</a:t>
            </a:r>
            <a:r>
              <a:rPr lang="en-US" sz="13600"/>
              <a:t> </a:t>
            </a:r>
            <a:r>
              <a:rPr lang="en-US" sz="11300"/>
              <a:t>you</a:t>
            </a:r>
            <a:endParaRPr lang="en-US" sz="13600"/>
          </a:p>
        </p:txBody>
      </p:sp>
    </p:spTree>
    <p:extLst>
      <p:ext uri="{BB962C8B-B14F-4D97-AF65-F5344CB8AC3E}">
        <p14:creationId xmlns:p14="http://schemas.microsoft.com/office/powerpoint/2010/main" val="35837925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BDB3CED-E5BD-4C6A-EA07-5B53856F2C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4BDB3CED-E5BD-4C6A-EA07-5B53856F2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E16AE2-9B6E-9C78-0E3C-62973A50CB8F}"/>
              </a:ext>
            </a:extLst>
          </p:cNvPr>
          <p:cNvSpPr>
            <a:spLocks noGrp="1"/>
          </p:cNvSpPr>
          <p:nvPr>
            <p:ph type="ctrTitle"/>
          </p:nvPr>
        </p:nvSpPr>
        <p:spPr>
          <a:xfrm>
            <a:off x="457199" y="685419"/>
            <a:ext cx="10958513" cy="2387600"/>
          </a:xfrm>
        </p:spPr>
        <p:txBody>
          <a:bodyPr vert="horz">
            <a:normAutofit fontScale="90000"/>
          </a:bodyPr>
          <a:lstStyle/>
          <a:p>
            <a:pPr algn="l"/>
            <a:br>
              <a:rPr lang="en-GB" sz="1800" b="0" i="0" u="none" strike="noStrike" baseline="0" dirty="0">
                <a:solidFill>
                  <a:srgbClr val="000000"/>
                </a:solidFill>
                <a:latin typeface="Calibri" panose="020F0502020204030204" pitchFamily="34" charset="0"/>
              </a:rPr>
            </a:br>
            <a:r>
              <a:rPr lang="en-US" sz="5300" b="1" i="0" u="none" strike="noStrike" baseline="0" dirty="0">
                <a:latin typeface="Calibri" panose="020F0502020204030204" pitchFamily="34" charset="0"/>
              </a:rPr>
              <a:t> Global overview of avian influenza A(H5)</a:t>
            </a:r>
            <a:br>
              <a:rPr lang="en-US" dirty="0"/>
            </a:br>
            <a:br>
              <a:rPr lang="en-US" dirty="0"/>
            </a:br>
            <a:br>
              <a:rPr lang="en-US" dirty="0"/>
            </a:br>
            <a:br>
              <a:rPr lang="en-US" dirty="0"/>
            </a:br>
            <a:endParaRPr lang="en-US" dirty="0"/>
          </a:p>
        </p:txBody>
      </p:sp>
      <p:sp>
        <p:nvSpPr>
          <p:cNvPr id="3" name="Subtitle 2">
            <a:extLst>
              <a:ext uri="{FF2B5EF4-FFF2-40B4-BE49-F238E27FC236}">
                <a16:creationId xmlns:a16="http://schemas.microsoft.com/office/drawing/2014/main" id="{87FDBEEF-AD6A-76DC-C239-9DC1B6D9361E}"/>
              </a:ext>
            </a:extLst>
          </p:cNvPr>
          <p:cNvSpPr>
            <a:spLocks noGrp="1"/>
          </p:cNvSpPr>
          <p:nvPr>
            <p:ph type="subTitle" idx="1"/>
          </p:nvPr>
        </p:nvSpPr>
        <p:spPr>
          <a:xfrm>
            <a:off x="457199" y="3429000"/>
            <a:ext cx="8963864" cy="1655762"/>
          </a:xfrm>
        </p:spPr>
        <p:txBody>
          <a:bodyPr vert="horz" lIns="0" tIns="0" rIns="0" bIns="0" rtlCol="0" anchor="t">
            <a:normAutofit/>
          </a:bodyPr>
          <a:lstStyle/>
          <a:p>
            <a:r>
              <a:rPr lang="en-US" dirty="0"/>
              <a:t>Aspen Hammond</a:t>
            </a:r>
          </a:p>
          <a:p>
            <a:endParaRPr lang="en-US" sz="1800" dirty="0"/>
          </a:p>
          <a:p>
            <a:r>
              <a:rPr lang="en-US" sz="1800" dirty="0"/>
              <a:t>ICAP Ground Rounds</a:t>
            </a:r>
          </a:p>
          <a:p>
            <a:r>
              <a:rPr lang="en-US" sz="1800" dirty="0"/>
              <a:t>27 August 2024</a:t>
            </a:r>
            <a:endParaRPr lang="en-US" sz="1800" dirty="0">
              <a:cs typeface="Calibri"/>
            </a:endParaRPr>
          </a:p>
        </p:txBody>
      </p:sp>
    </p:spTree>
    <p:extLst>
      <p:ext uri="{BB962C8B-B14F-4D97-AF65-F5344CB8AC3E}">
        <p14:creationId xmlns:p14="http://schemas.microsoft.com/office/powerpoint/2010/main" val="42331655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en-US" dirty="0"/>
              <a:t>Influenza A viruses</a:t>
            </a:r>
          </a:p>
        </p:txBody>
      </p:sp>
      <p:sp>
        <p:nvSpPr>
          <p:cNvPr id="4" name="Content Placeholder 3"/>
          <p:cNvSpPr>
            <a:spLocks noGrp="1"/>
          </p:cNvSpPr>
          <p:nvPr>
            <p:ph idx="1"/>
          </p:nvPr>
        </p:nvSpPr>
        <p:spPr>
          <a:xfrm>
            <a:off x="419100" y="1600200"/>
            <a:ext cx="7909615" cy="4705350"/>
          </a:xfrm>
        </p:spPr>
        <p:txBody>
          <a:bodyPr>
            <a:normAutofit/>
          </a:bodyPr>
          <a:lstStyle/>
          <a:p>
            <a:pPr>
              <a:spcBef>
                <a:spcPts val="0"/>
              </a:spcBef>
              <a:spcAft>
                <a:spcPts val="600"/>
              </a:spcAft>
            </a:pPr>
            <a:r>
              <a:rPr lang="en-US" sz="2000" dirty="0"/>
              <a:t>Subtyped based on surface proteins</a:t>
            </a:r>
          </a:p>
          <a:p>
            <a:pPr lvl="1">
              <a:spcAft>
                <a:spcPts val="600"/>
              </a:spcAft>
            </a:pPr>
            <a:r>
              <a:rPr lang="en-US" sz="2000" dirty="0"/>
              <a:t>Hemagglutinin (H) and neuraminidase (N)</a:t>
            </a:r>
          </a:p>
          <a:p>
            <a:pPr lvl="1">
              <a:spcAft>
                <a:spcPts val="600"/>
              </a:spcAft>
            </a:pPr>
            <a:r>
              <a:rPr lang="en-US" sz="2000" dirty="0"/>
              <a:t>Current human (seasonal) subtypes:  H1N1 &amp; H3N2</a:t>
            </a:r>
          </a:p>
          <a:p>
            <a:pPr>
              <a:spcBef>
                <a:spcPts val="1200"/>
              </a:spcBef>
            </a:pPr>
            <a:r>
              <a:rPr lang="en-US" sz="2000" dirty="0"/>
              <a:t>Birds = natural reservoir for all subtypes</a:t>
            </a:r>
          </a:p>
          <a:p>
            <a:pPr>
              <a:spcBef>
                <a:spcPts val="1200"/>
              </a:spcBef>
              <a:spcAft>
                <a:spcPts val="600"/>
              </a:spcAft>
            </a:pPr>
            <a:r>
              <a:rPr lang="en-US" sz="2000" dirty="0"/>
              <a:t>Wide host range = infects multiple species</a:t>
            </a:r>
          </a:p>
          <a:p>
            <a:pPr lvl="1">
              <a:spcAft>
                <a:spcPts val="600"/>
              </a:spcAft>
            </a:pPr>
            <a:r>
              <a:rPr lang="en-US" sz="2000" dirty="0"/>
              <a:t>Swine, horses, dogs, cats, whales, seals, reptiles</a:t>
            </a:r>
            <a:r>
              <a:rPr lang="en-US" sz="2000" i="1" dirty="0"/>
              <a:t>, livestock</a:t>
            </a:r>
            <a:r>
              <a:rPr lang="en-US" sz="2000" dirty="0"/>
              <a:t>...</a:t>
            </a:r>
          </a:p>
          <a:p>
            <a:pPr lvl="1">
              <a:spcAft>
                <a:spcPts val="600"/>
              </a:spcAft>
            </a:pPr>
            <a:r>
              <a:rPr lang="en-US" sz="2000" dirty="0"/>
              <a:t>Capacity for ‘species jumping’</a:t>
            </a:r>
          </a:p>
          <a:p>
            <a:pPr>
              <a:spcBef>
                <a:spcPts val="1800"/>
              </a:spcBef>
            </a:pPr>
            <a:r>
              <a:rPr lang="en-US" sz="2000" dirty="0"/>
              <a:t>Capable of epidemics and pandemics</a:t>
            </a:r>
          </a:p>
          <a:p>
            <a:pPr marL="0" indent="0">
              <a:buNone/>
            </a:pPr>
            <a:endParaRPr lang="en-US" sz="20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01124" y="1060704"/>
            <a:ext cx="3069818" cy="3088768"/>
          </a:xfrm>
          <a:prstGeom prst="rect">
            <a:avLst/>
          </a:prstGeom>
        </p:spPr>
      </p:pic>
    </p:spTree>
    <p:extLst>
      <p:ext uri="{BB962C8B-B14F-4D97-AF65-F5344CB8AC3E}">
        <p14:creationId xmlns:p14="http://schemas.microsoft.com/office/powerpoint/2010/main" val="16491113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5E09B-AC97-CAC8-3A6F-DF1284467CF3}"/>
              </a:ext>
            </a:extLst>
          </p:cNvPr>
          <p:cNvSpPr>
            <a:spLocks noGrp="1"/>
          </p:cNvSpPr>
          <p:nvPr>
            <p:ph type="title"/>
          </p:nvPr>
        </p:nvSpPr>
        <p:spPr>
          <a:xfrm>
            <a:off x="457200" y="648477"/>
            <a:ext cx="11277600" cy="1004888"/>
          </a:xfrm>
        </p:spPr>
        <p:txBody>
          <a:bodyPr/>
          <a:lstStyle/>
          <a:p>
            <a:r>
              <a:rPr lang="en-US" sz="3200" dirty="0"/>
              <a:t>Seasonal, pandemic, zoonotic influenza</a:t>
            </a:r>
            <a:endParaRPr lang="en-US" dirty="0"/>
          </a:p>
        </p:txBody>
      </p:sp>
      <p:sp>
        <p:nvSpPr>
          <p:cNvPr id="6" name="Text Placeholder 5">
            <a:extLst>
              <a:ext uri="{FF2B5EF4-FFF2-40B4-BE49-F238E27FC236}">
                <a16:creationId xmlns:a16="http://schemas.microsoft.com/office/drawing/2014/main" id="{DAFF824D-E9D4-D293-207D-DE40B5F439C7}"/>
              </a:ext>
            </a:extLst>
          </p:cNvPr>
          <p:cNvSpPr>
            <a:spLocks noGrp="1"/>
          </p:cNvSpPr>
          <p:nvPr>
            <p:ph type="body" sz="quarter" idx="13"/>
          </p:nvPr>
        </p:nvSpPr>
        <p:spPr>
          <a:xfrm>
            <a:off x="8981458" y="1356980"/>
            <a:ext cx="3001346" cy="4144039"/>
          </a:xfrm>
          <a:solidFill>
            <a:schemeClr val="tx2"/>
          </a:solidFill>
        </p:spPr>
        <p:txBody>
          <a:bodyPr vert="horz" lIns="182880" tIns="182880" rIns="182880" bIns="182880" rtlCol="0" anchor="t">
            <a:normAutofit/>
          </a:bodyPr>
          <a:lstStyle/>
          <a:p>
            <a:r>
              <a:rPr lang="en-US" sz="2400" b="1" dirty="0">
                <a:solidFill>
                  <a:srgbClr val="FF0000"/>
                </a:solidFill>
              </a:rPr>
              <a:t>Need for: </a:t>
            </a:r>
          </a:p>
          <a:p>
            <a:pPr marL="285750" indent="-285750">
              <a:buFont typeface="Arial" panose="020B0604020202020204" pitchFamily="34" charset="0"/>
              <a:buChar char="•"/>
            </a:pPr>
            <a:r>
              <a:rPr lang="en-US" dirty="0">
                <a:solidFill>
                  <a:schemeClr val="bg1"/>
                </a:solidFill>
              </a:rPr>
              <a:t>Global approach to monitor, prevent, and control seasonal influenza, detect and respond to novel and pandemic influenza</a:t>
            </a:r>
            <a:endParaRPr lang="en-US" dirty="0">
              <a:solidFill>
                <a:schemeClr val="bg1"/>
              </a:solidFill>
              <a:cs typeface="Calibri"/>
            </a:endParaRPr>
          </a:p>
          <a:p>
            <a:pPr marL="285750" indent="-285750">
              <a:buFont typeface="Arial" panose="020B0604020202020204" pitchFamily="34" charset="0"/>
              <a:buChar char="•"/>
            </a:pPr>
            <a:r>
              <a:rPr lang="en-US" dirty="0">
                <a:solidFill>
                  <a:schemeClr val="bg1"/>
                </a:solidFill>
              </a:rPr>
              <a:t>Monitoring the interface between humans and animals</a:t>
            </a:r>
          </a:p>
        </p:txBody>
      </p:sp>
      <p:graphicFrame>
        <p:nvGraphicFramePr>
          <p:cNvPr id="10" name="Diagram 9">
            <a:extLst>
              <a:ext uri="{FF2B5EF4-FFF2-40B4-BE49-F238E27FC236}">
                <a16:creationId xmlns:a16="http://schemas.microsoft.com/office/drawing/2014/main" id="{A90228B4-2B9E-FC45-5429-E4F5373961E9}"/>
              </a:ext>
            </a:extLst>
          </p:cNvPr>
          <p:cNvGraphicFramePr/>
          <p:nvPr/>
        </p:nvGraphicFramePr>
        <p:xfrm>
          <a:off x="343436" y="1603618"/>
          <a:ext cx="8390016" cy="41440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796508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Pandemic potential</a:t>
            </a:r>
            <a:br>
              <a:rPr lang="en-US" dirty="0"/>
            </a:br>
            <a:r>
              <a:rPr lang="en-US" i="1" dirty="0"/>
              <a:t>Necessary factors for a pandemic</a:t>
            </a:r>
            <a:br>
              <a:rPr lang="en-US" dirty="0"/>
            </a:br>
            <a:endParaRPr lang="en-US" dirty="0"/>
          </a:p>
        </p:txBody>
      </p:sp>
      <p:grpSp>
        <p:nvGrpSpPr>
          <p:cNvPr id="23" name="Group 22"/>
          <p:cNvGrpSpPr/>
          <p:nvPr/>
        </p:nvGrpSpPr>
        <p:grpSpPr>
          <a:xfrm>
            <a:off x="2089976" y="4823862"/>
            <a:ext cx="8199464" cy="1001503"/>
            <a:chOff x="6802129" y="4973783"/>
            <a:chExt cx="8199464" cy="1001503"/>
          </a:xfrm>
        </p:grpSpPr>
        <p:sp>
          <p:nvSpPr>
            <p:cNvPr id="24" name="Rounded Rectangle 23"/>
            <p:cNvSpPr/>
            <p:nvPr/>
          </p:nvSpPr>
          <p:spPr>
            <a:xfrm>
              <a:off x="6802129" y="4973783"/>
              <a:ext cx="8199464" cy="1001503"/>
            </a:xfrm>
            <a:prstGeom prst="roundRect">
              <a:avLst>
                <a:gd name="adj" fmla="val 7645"/>
              </a:avLst>
            </a:prstGeom>
            <a:solidFill>
              <a:schemeClr val="bg1"/>
            </a:solidFill>
            <a:ln w="19050">
              <a:solidFill>
                <a:srgbClr val="AAAA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5" name="TextBox 24"/>
            <p:cNvSpPr txBox="1"/>
            <p:nvPr/>
          </p:nvSpPr>
          <p:spPr>
            <a:xfrm>
              <a:off x="7571235" y="5064679"/>
              <a:ext cx="7430358" cy="830997"/>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Note: </a:t>
              </a:r>
              <a:r>
                <a:rPr kumimoji="0" lang="en-GB" sz="2400" b="0" i="0" u="none" strike="noStrike" kern="1200" cap="none" spc="0" normalizeH="0" baseline="0" noProof="0" dirty="0">
                  <a:ln>
                    <a:noFill/>
                  </a:ln>
                  <a:solidFill>
                    <a:srgbClr val="000000"/>
                  </a:solidFill>
                  <a:effectLst/>
                  <a:uLnTx/>
                  <a:uFillTx/>
                  <a:latin typeface="Calibri" panose="020F0502020204030204"/>
                  <a:ea typeface="+mn-ea"/>
                  <a:cs typeface="+mn-cs"/>
                </a:rPr>
                <a:t>It is clear that little changes of amino acids of the virus can cause a pandemic</a:t>
              </a:r>
              <a:endParaRPr kumimoji="0" lang="en-GB" sz="24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grpSp>
          <p:nvGrpSpPr>
            <p:cNvPr id="26" name="Group 25"/>
            <p:cNvGrpSpPr/>
            <p:nvPr/>
          </p:nvGrpSpPr>
          <p:grpSpPr>
            <a:xfrm>
              <a:off x="6802130" y="4973783"/>
              <a:ext cx="645846" cy="1001503"/>
              <a:chOff x="6802130" y="4973783"/>
              <a:chExt cx="645846" cy="1001503"/>
            </a:xfrm>
          </p:grpSpPr>
          <p:sp>
            <p:nvSpPr>
              <p:cNvPr id="27" name="Rounded Rectangle 26"/>
              <p:cNvSpPr/>
              <p:nvPr/>
            </p:nvSpPr>
            <p:spPr>
              <a:xfrm>
                <a:off x="6802130" y="4973783"/>
                <a:ext cx="645846" cy="1001503"/>
              </a:xfrm>
              <a:prstGeom prst="roundRect">
                <a:avLst>
                  <a:gd name="adj" fmla="val 7645"/>
                </a:avLst>
              </a:prstGeom>
              <a:solidFill>
                <a:srgbClr val="AAAAAA"/>
              </a:solidFill>
              <a:ln w="19050">
                <a:solidFill>
                  <a:srgbClr val="AAAA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28575" y="5260032"/>
                <a:ext cx="399328" cy="474877"/>
              </a:xfrm>
              <a:prstGeom prst="rect">
                <a:avLst/>
              </a:prstGeom>
              <a:ln>
                <a:solidFill>
                  <a:srgbClr val="AAAAAA"/>
                </a:solidFill>
              </a:ln>
            </p:spPr>
          </p:pic>
        </p:grpSp>
      </p:grpSp>
      <p:sp>
        <p:nvSpPr>
          <p:cNvPr id="6" name="Text Placeholder 19">
            <a:extLst>
              <a:ext uri="{FF2B5EF4-FFF2-40B4-BE49-F238E27FC236}">
                <a16:creationId xmlns:a16="http://schemas.microsoft.com/office/drawing/2014/main" id="{CF42FE86-B12B-3724-91BF-FA41D9282CB5}"/>
              </a:ext>
            </a:extLst>
          </p:cNvPr>
          <p:cNvSpPr txBox="1">
            <a:spLocks/>
          </p:cNvSpPr>
          <p:nvPr/>
        </p:nvSpPr>
        <p:spPr>
          <a:xfrm>
            <a:off x="381445" y="1856491"/>
            <a:ext cx="3555331" cy="2215780"/>
          </a:xfrm>
          <a:prstGeom prst="rect">
            <a:avLst/>
          </a:prstGeom>
          <a:solidFill>
            <a:schemeClr val="tx2"/>
          </a:solidFill>
        </p:spPr>
        <p:txBody>
          <a:bodyPr vert="horz" lIns="0" tIns="0" rIns="0" bIns="0" rtlCol="0" anchor="t" anchorCtr="0"/>
          <a:lstStyle>
            <a:defPPr>
              <a:defRPr lang="en-US"/>
            </a:defPPr>
            <a:lvl1pPr marL="0" algn="r" defTabSz="457200" rtl="0" eaLnBrk="1" latinLnBrk="0" hangingPunct="1">
              <a:defRPr sz="900" b="0" i="0" kern="1200">
                <a:solidFill>
                  <a:srgbClr val="00205C"/>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alibri" panose="020F0502020204030204"/>
                <a:ea typeface="+mn-ea"/>
                <a:cs typeface="+mn-cs"/>
              </a:rPr>
              <a:t>New avian or zoonotic influenza virus emerges.</a:t>
            </a:r>
          </a:p>
        </p:txBody>
      </p:sp>
      <p:sp>
        <p:nvSpPr>
          <p:cNvPr id="7" name="Text Placeholder 20">
            <a:extLst>
              <a:ext uri="{FF2B5EF4-FFF2-40B4-BE49-F238E27FC236}">
                <a16:creationId xmlns:a16="http://schemas.microsoft.com/office/drawing/2014/main" id="{60DFF2FF-5BE7-D377-3794-E5EBA6A5D3DC}"/>
              </a:ext>
            </a:extLst>
          </p:cNvPr>
          <p:cNvSpPr txBox="1">
            <a:spLocks/>
          </p:cNvSpPr>
          <p:nvPr/>
        </p:nvSpPr>
        <p:spPr>
          <a:xfrm>
            <a:off x="4272685" y="1856491"/>
            <a:ext cx="3555331" cy="2215780"/>
          </a:xfrm>
          <a:prstGeom prst="rect">
            <a:avLst/>
          </a:prstGeom>
          <a:solidFill>
            <a:schemeClr val="tx2"/>
          </a:solidFill>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FFFFFF"/>
                </a:solidFill>
                <a:effectLst/>
                <a:uLnTx/>
                <a:uFillTx/>
                <a:latin typeface="Calibri" panose="020F0502020204030204"/>
                <a:ea typeface="+mn-ea"/>
                <a:cs typeface="+mn-cs"/>
              </a:rPr>
              <a:t>Virus has ability to cause sustained human-human transmission.</a:t>
            </a:r>
          </a:p>
        </p:txBody>
      </p:sp>
      <p:sp>
        <p:nvSpPr>
          <p:cNvPr id="8" name="Text Placeholder 21">
            <a:extLst>
              <a:ext uri="{FF2B5EF4-FFF2-40B4-BE49-F238E27FC236}">
                <a16:creationId xmlns:a16="http://schemas.microsoft.com/office/drawing/2014/main" id="{E44A8E9C-0E68-BCF2-544B-4E026AE33379}"/>
              </a:ext>
            </a:extLst>
          </p:cNvPr>
          <p:cNvSpPr txBox="1">
            <a:spLocks/>
          </p:cNvSpPr>
          <p:nvPr/>
        </p:nvSpPr>
        <p:spPr>
          <a:xfrm>
            <a:off x="8179469" y="1856491"/>
            <a:ext cx="3555331" cy="2215780"/>
          </a:xfrm>
          <a:prstGeom prst="rect">
            <a:avLst/>
          </a:prstGeom>
          <a:solidFill>
            <a:schemeClr val="tx2"/>
          </a:solidFill>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FFFFFF"/>
                </a:solidFill>
                <a:effectLst/>
                <a:uLnTx/>
                <a:uFillTx/>
                <a:latin typeface="Calibri" panose="020F0502020204030204"/>
                <a:ea typeface="+mn-ea"/>
                <a:cs typeface="+mn-cs"/>
              </a:rPr>
              <a:t>Human population has little or no immunity to the viru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9661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54FF4-87B8-A4B6-77D3-F3D3681CE3D5}"/>
              </a:ext>
            </a:extLst>
          </p:cNvPr>
          <p:cNvSpPr>
            <a:spLocks noGrp="1"/>
          </p:cNvSpPr>
          <p:nvPr>
            <p:ph type="title"/>
          </p:nvPr>
        </p:nvSpPr>
        <p:spPr/>
        <p:txBody>
          <a:bodyPr/>
          <a:lstStyle/>
          <a:p>
            <a:r>
              <a:rPr lang="en-US" dirty="0">
                <a:solidFill>
                  <a:schemeClr val="tx2"/>
                </a:solidFill>
              </a:rPr>
              <a:t>WHO approach to influenza since 1952 </a:t>
            </a:r>
            <a:r>
              <a:rPr lang="en-US" dirty="0">
                <a:solidFill>
                  <a:schemeClr val="accent2"/>
                </a:solidFill>
              </a:rPr>
              <a:t>- GISRS</a:t>
            </a:r>
          </a:p>
        </p:txBody>
      </p:sp>
      <p:sp>
        <p:nvSpPr>
          <p:cNvPr id="7" name="Content Placeholder 6">
            <a:extLst>
              <a:ext uri="{FF2B5EF4-FFF2-40B4-BE49-F238E27FC236}">
                <a16:creationId xmlns:a16="http://schemas.microsoft.com/office/drawing/2014/main" id="{48270E34-EF4D-32A6-9F83-B5127E8DF915}"/>
              </a:ext>
            </a:extLst>
          </p:cNvPr>
          <p:cNvSpPr>
            <a:spLocks noGrp="1"/>
          </p:cNvSpPr>
          <p:nvPr>
            <p:ph idx="1"/>
          </p:nvPr>
        </p:nvSpPr>
        <p:spPr>
          <a:xfrm>
            <a:off x="457200" y="4115525"/>
            <a:ext cx="5281627" cy="1078644"/>
          </a:xfrm>
          <a:solidFill>
            <a:srgbClr val="002060"/>
          </a:solidFill>
        </p:spPr>
        <p:txBody>
          <a:bodyPr>
            <a:normAutofit fontScale="92500"/>
          </a:bodyPr>
          <a:lstStyle/>
          <a:p>
            <a:pPr marL="0" indent="0" algn="ctr">
              <a:buNone/>
            </a:pPr>
            <a:r>
              <a:rPr lang="en-US" sz="2000">
                <a:solidFill>
                  <a:srgbClr val="FFC000"/>
                </a:solidFill>
                <a:latin typeface="Arial Rounded MT Bold" panose="020F0704030504030204" pitchFamily="34" charset="0"/>
              </a:rPr>
              <a:t>Enormous commitment from Member States </a:t>
            </a:r>
          </a:p>
          <a:p>
            <a:pPr marL="0" indent="0" algn="ctr">
              <a:buNone/>
            </a:pPr>
            <a:r>
              <a:rPr lang="en-US" sz="2000">
                <a:solidFill>
                  <a:srgbClr val="FFC000"/>
                </a:solidFill>
                <a:latin typeface="Arial Rounded MT Bold" panose="020F0704030504030204" pitchFamily="34" charset="0"/>
              </a:rPr>
              <a:t>Enormous support from international agencies &amp; partners</a:t>
            </a:r>
          </a:p>
          <a:p>
            <a:pPr marL="0" indent="0" algn="ctr">
              <a:buNone/>
            </a:pPr>
            <a:endParaRPr lang="en-US" sz="2000">
              <a:solidFill>
                <a:srgbClr val="FFC000"/>
              </a:solidFill>
              <a:latin typeface="Arial Rounded MT Bold" panose="020F0704030504030204" pitchFamily="34" charset="0"/>
            </a:endParaRPr>
          </a:p>
        </p:txBody>
      </p:sp>
      <p:sp>
        <p:nvSpPr>
          <p:cNvPr id="5" name="TextBox 4">
            <a:extLst>
              <a:ext uri="{FF2B5EF4-FFF2-40B4-BE49-F238E27FC236}">
                <a16:creationId xmlns:a16="http://schemas.microsoft.com/office/drawing/2014/main" id="{5832BDF2-EF58-8015-DA92-54AF699143B9}"/>
              </a:ext>
            </a:extLst>
          </p:cNvPr>
          <p:cNvSpPr txBox="1"/>
          <p:nvPr/>
        </p:nvSpPr>
        <p:spPr>
          <a:xfrm>
            <a:off x="461030" y="1455720"/>
            <a:ext cx="3893270" cy="2308324"/>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For over 70 years, the </a:t>
            </a: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Global Influenza Surveillance and Response System (GISRS) </a:t>
            </a: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has been the foundation for influenza surveillance, preparedness and response </a:t>
            </a: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Calibri"/>
            </a:endParaRPr>
          </a:p>
        </p:txBody>
      </p:sp>
      <p:pic>
        <p:nvPicPr>
          <p:cNvPr id="1026" name="Picture 2">
            <a:extLst>
              <a:ext uri="{FF2B5EF4-FFF2-40B4-BE49-F238E27FC236}">
                <a16:creationId xmlns:a16="http://schemas.microsoft.com/office/drawing/2014/main" id="{32BEA713-8506-0645-717F-934AA3DA61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7793" y="1520713"/>
            <a:ext cx="5837209" cy="4127803"/>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70C7116-50A3-43DD-6693-7A30A1739EEB}"/>
              </a:ext>
            </a:extLst>
          </p:cNvPr>
          <p:cNvSpPr txBox="1"/>
          <p:nvPr/>
        </p:nvSpPr>
        <p:spPr>
          <a:xfrm>
            <a:off x="1138921" y="5594970"/>
            <a:ext cx="3324445"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hlinkClick r:id="rId4"/>
              </a:rPr>
              <a:t>https://www.who.int/initiatives/global-influenza-surveillance-and-response-system</a:t>
            </a: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7123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CAP_powerpoint_lightbluebackgrou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ICAP Logo with Blue Head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NCEH_ATSDR_combined">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5.xml><?xml version="1.0" encoding="utf-8"?>
<a:theme xmlns:a="http://schemas.openxmlformats.org/drawingml/2006/main" name="1_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_presentation_template_R1_V06" id="{1BDC1073-AB81-8147-89C3-A79EC2A6301F}" vid="{9D092595-E6B8-C345-B470-402B85CA4A40}"/>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i9f2da93fcc74e869d070fd34a0597c4 xmlns="c629780e-db83-45bc-a257-7c8c4fd6b9cb">
      <Terms xmlns="http://schemas.microsoft.com/office/infopath/2007/PartnerControls"/>
    </i9f2da93fcc74e869d070fd34a0597c4>
    <lcf76f155ced4ddcb4097134ff3c332f xmlns="2636c69e-d6b9-4f6b-a248-45fd91a90b4d">
      <Terms xmlns="http://schemas.microsoft.com/office/infopath/2007/PartnerControls"/>
    </lcf76f155ced4ddcb4097134ff3c332f>
    <FavoriteUsers xmlns="c629780e-db83-45bc-a257-7c8c4fd6b9cb" xsi:nil="true"/>
    <cc92bdb0fa944447acf309642a11bf0d xmlns="c629780e-db83-45bc-a257-7c8c4fd6b9cb">
      <Terms xmlns="http://schemas.microsoft.com/office/infopath/2007/PartnerControls"/>
    </cc92bdb0fa944447acf309642a11bf0d>
    <KeyEntities xmlns="c629780e-db83-45bc-a257-7c8c4fd6b9cb" xsi:nil="true"/>
    <TaxCatchAll xmlns="c629780e-db83-45bc-a257-7c8c4fd6b9c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NGOOnlineDocument" ma:contentTypeID="0x01010033CF86A3E53F48B7ADBBC140A8AF8FA700AFE50C597308CB40BCA7E320ED70E337" ma:contentTypeVersion="22" ma:contentTypeDescription="NGO Document content type" ma:contentTypeScope="" ma:versionID="f19d96c1150b4c6609d46581b842896a">
  <xsd:schema xmlns:xsd="http://www.w3.org/2001/XMLSchema" xmlns:xs="http://www.w3.org/2001/XMLSchema" xmlns:p="http://schemas.microsoft.com/office/2006/metadata/properties" xmlns:ns2="c629780e-db83-45bc-a257-7c8c4fd6b9cb" xmlns:ns3="2636c69e-d6b9-4f6b-a248-45fd91a90b4d" targetNamespace="http://schemas.microsoft.com/office/2006/metadata/properties" ma:root="true" ma:fieldsID="19c5eafe5fc09fd3b1b0eac109e61502" ns2:_="" ns3:_="">
    <xsd:import namespace="c629780e-db83-45bc-a257-7c8c4fd6b9cb"/>
    <xsd:import namespace="2636c69e-d6b9-4f6b-a248-45fd91a90b4d"/>
    <xsd:element name="properties">
      <xsd:complexType>
        <xsd:sequence>
          <xsd:element name="documentManagement">
            <xsd:complexType>
              <xsd:all>
                <xsd:element ref="ns2:FavoriteUsers" minOccurs="0"/>
                <xsd:element ref="ns2:KeyEntities" minOccurs="0"/>
                <xsd:element ref="ns2:i9f2da93fcc74e869d070fd34a0597c4" minOccurs="0"/>
                <xsd:element ref="ns2:TaxCatchAll" minOccurs="0"/>
                <xsd:element ref="ns2:TaxCatchAllLabel" minOccurs="0"/>
                <xsd:element ref="ns2:cc92bdb0fa944447acf309642a11bf0d"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2:SharedWithUsers" minOccurs="0"/>
                <xsd:element ref="ns2:SharedWithDetails" minOccurs="0"/>
                <xsd:element ref="ns3:MediaLengthInSeconds" minOccurs="0"/>
                <xsd:element ref="ns3:lcf76f155ced4ddcb4097134ff3c332f" minOccurs="0"/>
                <xsd:element ref="ns3:MediaServiceObjectDetectorVersions" minOccurs="0"/>
                <xsd:element ref="ns3:MediaServiceSearchPropertie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29780e-db83-45bc-a257-7c8c4fd6b9cb" elementFormDefault="qualified">
    <xsd:import namespace="http://schemas.microsoft.com/office/2006/documentManagement/types"/>
    <xsd:import namespace="http://schemas.microsoft.com/office/infopath/2007/PartnerControls"/>
    <xsd:element name="FavoriteUsers" ma:index="8" nillable="true" ma:displayName="F" ma:description="Store all users who mark this document as favorite" ma:hidden="true" ma:internalName="FavoriteUsers">
      <xsd:simpleType>
        <xsd:restriction base="dms:Text"/>
      </xsd:simpleType>
    </xsd:element>
    <xsd:element name="KeyEntities" ma:index="9" nillable="true" ma:displayName="K" ma:description="Store all entities which this document as a key" ma:hidden="true" ma:internalName="KeyEntities">
      <xsd:simpleType>
        <xsd:restriction base="dms:Text"/>
      </xsd:simpleType>
    </xsd:element>
    <xsd:element name="i9f2da93fcc74e869d070fd34a0597c4" ma:index="10" nillable="true" ma:taxonomy="true" ma:internalName="i9f2da93fcc74e869d070fd34a0597c4" ma:taxonomyFieldName="NGOOnlineDocumentType" ma:displayName="Document types" ma:fieldId="{29f2da93-fcc7-4e86-9d07-0fd34a0597c4}" ma:taxonomyMulti="true" ma:sspId="e492bf4d-7d24-4a02-9dd7-4d67ddc3dcfb" ma:termSetId="ab881ecd-e3fb-4592-9594-ea70170c21a9" ma:anchorId="00000000-0000-0000-0000-000000000000" ma:open="false" ma:isKeyword="false">
      <xsd:complexType>
        <xsd:sequence>
          <xsd:element ref="pc:Terms" minOccurs="0" maxOccurs="1"/>
        </xsd:sequence>
      </xsd:complexType>
    </xsd:element>
    <xsd:element name="TaxCatchAll" ma:index="11" nillable="true" ma:displayName="Taxonomy Catch All Column" ma:hidden="true" ma:list="{a205db0c-b838-4c53-becf-285510dc543a}" ma:internalName="TaxCatchAll" ma:showField="CatchAllData" ma:web="c629780e-db83-45bc-a257-7c8c4fd6b9cb">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hidden="true" ma:list="{a205db0c-b838-4c53-becf-285510dc543a}" ma:internalName="TaxCatchAllLabel" ma:readOnly="true" ma:showField="CatchAllDataLabel" ma:web="c629780e-db83-45bc-a257-7c8c4fd6b9cb">
      <xsd:complexType>
        <xsd:complexContent>
          <xsd:extension base="dms:MultiChoiceLookup">
            <xsd:sequence>
              <xsd:element name="Value" type="dms:Lookup" maxOccurs="unbounded" minOccurs="0" nillable="true"/>
            </xsd:sequence>
          </xsd:extension>
        </xsd:complexContent>
      </xsd:complexType>
    </xsd:element>
    <xsd:element name="cc92bdb0fa944447acf309642a11bf0d" ma:index="14" nillable="true" ma:taxonomy="true" ma:internalName="cc92bdb0fa944447acf309642a11bf0d" ma:taxonomyFieldName="NGOOnlineKeywords" ma:displayName="Keywords" ma:fieldId="{cc92bdb0-fa94-4447-acf3-09642a11bf0d}" ma:taxonomyMulti="true" ma:sspId="e492bf4d-7d24-4a02-9dd7-4d67ddc3dcfb" ma:termSetId="7c9b2214-6d63-47c8-ad9c-de84cf58bf6c" ma:anchorId="00000000-0000-0000-0000-000000000000" ma:open="true" ma:isKeyword="false">
      <xsd:complexType>
        <xsd:sequence>
          <xsd:element ref="pc:Terms" minOccurs="0" maxOccurs="1"/>
        </xsd:sequence>
      </xsd:complexType>
    </xsd:element>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636c69e-d6b9-4f6b-a248-45fd91a90b4d" elementFormDefault="qualified">
    <xsd:import namespace="http://schemas.microsoft.com/office/2006/documentManagement/types"/>
    <xsd:import namespace="http://schemas.microsoft.com/office/infopath/2007/PartnerControls"/>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Tags" ma:index="19" nillable="true" ma:displayName="Tags" ma:internalName="MediaServiceAutoTags"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MediaLengthInSeconds" ma:index="27" nillable="true" ma:displayName="Length (seconds)" ma:internalName="MediaLengthInSeconds" ma:readOnly="true">
      <xsd:simpleType>
        <xsd:restriction base="dms:Unknown"/>
      </xsd:simpleType>
    </xsd:element>
    <xsd:element name="lcf76f155ced4ddcb4097134ff3c332f" ma:index="29" nillable="true" ma:taxonomy="true" ma:internalName="lcf76f155ced4ddcb4097134ff3c332f" ma:taxonomyFieldName="MediaServiceImageTags" ma:displayName="Image Tags" ma:readOnly="false" ma:fieldId="{5cf76f15-5ced-4ddc-b409-7134ff3c332f}" ma:taxonomyMulti="true" ma:sspId="e492bf4d-7d24-4a02-9dd7-4d67ddc3dcf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0" nillable="true" ma:displayName="MediaServiceObjectDetectorVersions" ma:hidden="true" ma:indexed="true" ma:internalName="MediaServiceObjectDetectorVersions" ma:readOnly="true">
      <xsd:simpleType>
        <xsd:restriction base="dms:Text"/>
      </xsd:simpleType>
    </xsd:element>
    <xsd:element name="MediaServiceSearchProperties" ma:index="31" nillable="true" ma:displayName="MediaServiceSearchProperties" ma:hidden="true" ma:internalName="MediaServiceSearchProperties" ma:readOnly="true">
      <xsd:simpleType>
        <xsd:restriction base="dms:Note"/>
      </xsd:simpleType>
    </xsd:element>
    <xsd:element name="MediaServiceLocation" ma:index="3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E16BB1F-8881-4FD7-ABF9-8D9FDA44ADFA}">
  <ds:schemaRefs>
    <ds:schemaRef ds:uri="http://schemas.microsoft.com/sharepoint/v3/contenttype/forms"/>
  </ds:schemaRefs>
</ds:datastoreItem>
</file>

<file path=customXml/itemProps2.xml><?xml version="1.0" encoding="utf-8"?>
<ds:datastoreItem xmlns:ds="http://schemas.openxmlformats.org/officeDocument/2006/customXml" ds:itemID="{1B2F795F-2D3D-4322-92F2-4FFCDA24AD50}">
  <ds:schemaRefs>
    <ds:schemaRef ds:uri="http://schemas.microsoft.com/office/2006/documentManagement/types"/>
    <ds:schemaRef ds:uri="http://schemas.microsoft.com/office/2006/metadata/properties"/>
    <ds:schemaRef ds:uri="c629780e-db83-45bc-a257-7c8c4fd6b9cb"/>
    <ds:schemaRef ds:uri="http://purl.org/dc/terms/"/>
    <ds:schemaRef ds:uri="http://purl.org/dc/dcmitype/"/>
    <ds:schemaRef ds:uri="http://purl.org/dc/elements/1.1/"/>
    <ds:schemaRef ds:uri="http://schemas.openxmlformats.org/package/2006/metadata/core-properties"/>
    <ds:schemaRef ds:uri="2636c69e-d6b9-4f6b-a248-45fd91a90b4d"/>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DF2D637E-B71B-42FD-A1C8-AA33E20789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629780e-db83-45bc-a257-7c8c4fd6b9cb"/>
    <ds:schemaRef ds:uri="2636c69e-d6b9-4f6b-a248-45fd91a90b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4</TotalTime>
  <Words>4231</Words>
  <Application>Microsoft Office PowerPoint</Application>
  <PresentationFormat>Widescreen</PresentationFormat>
  <Paragraphs>448</Paragraphs>
  <Slides>45</Slides>
  <Notes>39</Notes>
  <HiddenSlides>0</HiddenSlides>
  <MMClips>0</MMClips>
  <ScaleCrop>false</ScaleCrop>
  <HeadingPairs>
    <vt:vector size="8" baseType="variant">
      <vt:variant>
        <vt:lpstr>Fonts Used</vt:lpstr>
      </vt:variant>
      <vt:variant>
        <vt:i4>28</vt:i4>
      </vt:variant>
      <vt:variant>
        <vt:lpstr>Theme</vt:lpstr>
      </vt:variant>
      <vt:variant>
        <vt:i4>7</vt:i4>
      </vt:variant>
      <vt:variant>
        <vt:lpstr>Embedded OLE Servers</vt:lpstr>
      </vt:variant>
      <vt:variant>
        <vt:i4>1</vt:i4>
      </vt:variant>
      <vt:variant>
        <vt:lpstr>Slide Titles</vt:lpstr>
      </vt:variant>
      <vt:variant>
        <vt:i4>45</vt:i4>
      </vt:variant>
    </vt:vector>
  </HeadingPairs>
  <TitlesOfParts>
    <vt:vector size="81" baseType="lpstr">
      <vt:lpstr>-apple-system</vt:lpstr>
      <vt:lpstr>Aptos</vt:lpstr>
      <vt:lpstr>Aptos Display</vt:lpstr>
      <vt:lpstr>Arial</vt:lpstr>
      <vt:lpstr>Arial Rounded MT Bold</vt:lpstr>
      <vt:lpstr>Atkinson Hyperlegible</vt:lpstr>
      <vt:lpstr>BlinkMacSystemFont</vt:lpstr>
      <vt:lpstr>Calibri</vt:lpstr>
      <vt:lpstr>Calibri Light</vt:lpstr>
      <vt:lpstr>Century Gothic</vt:lpstr>
      <vt:lpstr>Corbel</vt:lpstr>
      <vt:lpstr>Courier New</vt:lpstr>
      <vt:lpstr>DIN Mittelschrift Std</vt:lpstr>
      <vt:lpstr>Garamond</vt:lpstr>
      <vt:lpstr>Helvetica Neue</vt:lpstr>
      <vt:lpstr>inherit</vt:lpstr>
      <vt:lpstr>Leelawadee</vt:lpstr>
      <vt:lpstr>Myriad Web Pro</vt:lpstr>
      <vt:lpstr>Nexa Black</vt:lpstr>
      <vt:lpstr>Nexus Sans Pro</vt:lpstr>
      <vt:lpstr>Noah Reg</vt:lpstr>
      <vt:lpstr>Noah W05 Regular</vt:lpstr>
      <vt:lpstr>Open Sans</vt:lpstr>
      <vt:lpstr>Poppins</vt:lpstr>
      <vt:lpstr>Roboto</vt:lpstr>
      <vt:lpstr>Segoe UI</vt:lpstr>
      <vt:lpstr>Symbol</vt:lpstr>
      <vt:lpstr>Wingdings</vt:lpstr>
      <vt:lpstr>Office Theme</vt:lpstr>
      <vt:lpstr>ICAP_powerpoint_lightbluebackground</vt:lpstr>
      <vt:lpstr>6_ICAP Logo with Blue Header</vt:lpstr>
      <vt:lpstr>NCEH_ATSDR_combined</vt:lpstr>
      <vt:lpstr>1_Office Theme</vt:lpstr>
      <vt:lpstr>2_Office Theme</vt:lpstr>
      <vt:lpstr>3_office theme</vt:lpstr>
      <vt:lpstr>think-cell Slide</vt:lpstr>
      <vt:lpstr>Is the Next Pandemic Already Here? The Looming Threat of H5N1   Co-sponsored by ICAP and the New York City Pandemic Response Institute (PRI)      </vt:lpstr>
      <vt:lpstr>PowerPoint Presentation</vt:lpstr>
      <vt:lpstr>PowerPoint Presentation</vt:lpstr>
      <vt:lpstr>PowerPoint Presentation</vt:lpstr>
      <vt:lpstr>  Global overview of avian influenza A(H5)    </vt:lpstr>
      <vt:lpstr>Influenza A viruses</vt:lpstr>
      <vt:lpstr>Seasonal, pandemic, zoonotic influenza</vt:lpstr>
      <vt:lpstr>Pandemic potential Necessary factors for a pandemic </vt:lpstr>
      <vt:lpstr>WHO approach to influenza since 1952 - GISRS</vt:lpstr>
      <vt:lpstr>GISRS monitoring of zoonotic influenza, 2003-2024</vt:lpstr>
      <vt:lpstr>GISRS monitoring of zoonotic influenza, 2003-2024</vt:lpstr>
      <vt:lpstr>PowerPoint Presentation</vt:lpstr>
      <vt:lpstr>Clade 2.3.4.4b viruses have consistently expanded since 2020 </vt:lpstr>
      <vt:lpstr>Ongoing FAO-WHO-WOAH avian influenza risk assessments</vt:lpstr>
      <vt:lpstr>Risk assessment: Tool for Influenza Pandemic Risk Assessment</vt:lpstr>
      <vt:lpstr>Candidate vaccine virus development for pandemic preparedness</vt:lpstr>
      <vt:lpstr>Surveillance</vt:lpstr>
      <vt:lpstr>Surveillance</vt:lpstr>
      <vt:lpstr>Investigations</vt:lpstr>
      <vt:lpstr>Diagnosis and virus characterization</vt:lpstr>
      <vt:lpstr>Clinical management</vt:lpstr>
      <vt:lpstr>Reducing exposure</vt:lpstr>
      <vt:lpstr>Risk communication</vt:lpstr>
      <vt:lpstr>Summary of current situation</vt:lpstr>
      <vt:lpstr>Thank you</vt:lpstr>
      <vt:lpstr>Highly Pathogenic Avian Influenza A(H5N1) Virus</vt:lpstr>
      <vt:lpstr>HPAI A(H5N1) Cases Since 1997*</vt:lpstr>
      <vt:lpstr>Historical Human Exposures to HPAI A(H5N1) Viruses</vt:lpstr>
      <vt:lpstr>HPAI A(H5N1) in Dairy Cattle: Current Situation and Response Updates</vt:lpstr>
      <vt:lpstr>CDC’s Priorities </vt:lpstr>
      <vt:lpstr>H5N1 Situation Update – Dairy Herds</vt:lpstr>
      <vt:lpstr>HPAI A(H5) Human Cases, United States, 2022-2024 </vt:lpstr>
      <vt:lpstr>H5 Human Cases– Virus Sequences to Date</vt:lpstr>
      <vt:lpstr>Symptom Monitoring Recommendations </vt:lpstr>
      <vt:lpstr>Ongoing Human Monitoring</vt:lpstr>
      <vt:lpstr>Surveillance, Human Monitoring, and Testing </vt:lpstr>
      <vt:lpstr>PowerPoint Presentation</vt:lpstr>
      <vt:lpstr>CDC Influenza Risk Assessment Tool (IRAT)</vt:lpstr>
      <vt:lpstr>IRAT Virus Emergence and Impact – Comparison of Risk Scores</vt:lpstr>
      <vt:lpstr>Public Health Risk</vt:lpstr>
      <vt:lpstr>Resources from CDC</vt:lpstr>
      <vt:lpstr>Thank you</vt:lpstr>
      <vt:lpstr>Q&amp;A</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V, Mental Health, and Beyond: How Research Could Protect Youth in a Rapidly Changing World</dc:title>
  <dc:creator>Hendery, Sara E.</dc:creator>
  <cp:lastModifiedBy>Hendery, Sara E.</cp:lastModifiedBy>
  <cp:revision>2</cp:revision>
  <dcterms:created xsi:type="dcterms:W3CDTF">2023-09-11T19:32:12Z</dcterms:created>
  <dcterms:modified xsi:type="dcterms:W3CDTF">2024-08-27T12:1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CF86A3E53F48B7ADBBC140A8AF8FA700AFE50C597308CB40BCA7E320ED70E337</vt:lpwstr>
  </property>
  <property fmtid="{D5CDD505-2E9C-101B-9397-08002B2CF9AE}" pid="3" name="MediaServiceImageTags">
    <vt:lpwstr/>
  </property>
  <property fmtid="{D5CDD505-2E9C-101B-9397-08002B2CF9AE}" pid="4" name="NGOOnlineKeywords">
    <vt:lpwstr/>
  </property>
  <property fmtid="{D5CDD505-2E9C-101B-9397-08002B2CF9AE}" pid="5" name="NGOOnlineDocumentType">
    <vt:lpwstr/>
  </property>
</Properties>
</file>